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7"/>
  </p:notesMasterIdLst>
  <p:sldIdLst>
    <p:sldId id="456" r:id="rId5"/>
    <p:sldId id="483" r:id="rId6"/>
    <p:sldId id="484" r:id="rId7"/>
    <p:sldId id="457" r:id="rId8"/>
    <p:sldId id="503" r:id="rId9"/>
    <p:sldId id="504" r:id="rId10"/>
    <p:sldId id="505" r:id="rId11"/>
    <p:sldId id="507" r:id="rId12"/>
    <p:sldId id="510" r:id="rId13"/>
    <p:sldId id="476" r:id="rId14"/>
    <p:sldId id="419" r:id="rId15"/>
    <p:sldId id="466" r:id="rId16"/>
    <p:sldId id="511" r:id="rId17"/>
    <p:sldId id="495" r:id="rId18"/>
    <p:sldId id="508" r:id="rId19"/>
    <p:sldId id="509" r:id="rId20"/>
    <p:sldId id="480" r:id="rId21"/>
    <p:sldId id="481" r:id="rId22"/>
    <p:sldId id="482" r:id="rId23"/>
    <p:sldId id="512" r:id="rId24"/>
    <p:sldId id="1098" r:id="rId25"/>
    <p:sldId id="1107" r:id="rId26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616" userDrawn="1">
          <p15:clr>
            <a:srgbClr val="A4A3A4"/>
          </p15:clr>
        </p15:guide>
        <p15:guide id="3" orient="horz" pos="1661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793" userDrawn="1">
          <p15:clr>
            <a:srgbClr val="A4A3A4"/>
          </p15:clr>
        </p15:guide>
        <p15:guide id="6" pos="2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4472C4"/>
    <a:srgbClr val="FF3300"/>
    <a:srgbClr val="FF0000"/>
    <a:srgbClr val="F4B183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265461-F676-40EA-94D0-F4CC5C5FDDE7}" v="1" dt="2025-03-13T00:54:56.8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19" autoAdjust="0"/>
  </p:normalViewPr>
  <p:slideViewPr>
    <p:cSldViewPr snapToGrid="0">
      <p:cViewPr varScale="1">
        <p:scale>
          <a:sx n="79" d="100"/>
          <a:sy n="79" d="100"/>
        </p:scale>
        <p:origin x="848" y="52"/>
      </p:cViewPr>
      <p:guideLst>
        <p:guide orient="horz" pos="482"/>
        <p:guide orient="horz" pos="1616"/>
        <p:guide orient="horz" pos="1661"/>
        <p:guide orient="horz" pos="935"/>
        <p:guide pos="793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D2265461-F676-40EA-94D0-F4CC5C5FDDE7}"/>
    <pc:docChg chg="addSld modSld">
      <pc:chgData name="佐藤 悠哉" userId="faebc9e1-2a1d-42c8-8ba1-e1a81c5add00" providerId="ADAL" clId="{D2265461-F676-40EA-94D0-F4CC5C5FDDE7}" dt="2025-03-13T00:54:56.892" v="0"/>
      <pc:docMkLst>
        <pc:docMk/>
      </pc:docMkLst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449840931" sldId="1106"/>
        </pc:sldMkLst>
      </pc:sldChg>
    </pc:docChg>
  </pc:docChgLst>
  <pc:docChgLst>
    <pc:chgData name="佐藤 悠哉" userId="faebc9e1-2a1d-42c8-8ba1-e1a81c5add00" providerId="ADAL" clId="{6DD6915A-69A7-4119-AC4D-35A623DADE69}"/>
    <pc:docChg chg="custSel delSld modSld modNotesMaster">
      <pc:chgData name="佐藤 悠哉" userId="faebc9e1-2a1d-42c8-8ba1-e1a81c5add00" providerId="ADAL" clId="{6DD6915A-69A7-4119-AC4D-35A623DADE69}" dt="2024-12-12T09:31:34.989" v="9" actId="20577"/>
      <pc:docMkLst>
        <pc:docMk/>
      </pc:docMkLst>
      <pc:sldChg chg="modSp mod modNotes">
        <pc:chgData name="佐藤 悠哉" userId="faebc9e1-2a1d-42c8-8ba1-e1a81c5add00" providerId="ADAL" clId="{6DD6915A-69A7-4119-AC4D-35A623DADE69}" dt="2024-12-12T09:31:34.989" v="9" actId="20577"/>
        <pc:sldMkLst>
          <pc:docMk/>
          <pc:sldMk cId="3308167297" sldId="456"/>
        </pc:sldMkLst>
        <pc:spChg chg="mod">
          <ac:chgData name="佐藤 悠哉" userId="faebc9e1-2a1d-42c8-8ba1-e1a81c5add00" providerId="ADAL" clId="{6DD6915A-69A7-4119-AC4D-35A623DADE69}" dt="2024-12-12T09:31:34.989" v="9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">
        <pc:chgData name="佐藤 悠哉" userId="faebc9e1-2a1d-42c8-8ba1-e1a81c5add00" providerId="ADAL" clId="{6DD6915A-69A7-4119-AC4D-35A623DADE69}" dt="2024-12-12T09:30:08.599" v="1" actId="478"/>
        <pc:sldMkLst>
          <pc:docMk/>
          <pc:sldMk cId="2454161415" sldId="508"/>
        </pc:sldMkLst>
      </pc:sldChg>
      <pc:sldChg chg="del">
        <pc:chgData name="佐藤 悠哉" userId="faebc9e1-2a1d-42c8-8ba1-e1a81c5add00" providerId="ADAL" clId="{6DD6915A-69A7-4119-AC4D-35A623DADE69}" dt="2024-12-12T09:30:26.708" v="2" actId="47"/>
        <pc:sldMkLst>
          <pc:docMk/>
          <pc:sldMk cId="4218032583" sldId="514"/>
        </pc:sldMkLst>
      </pc:sldChg>
    </pc:docChg>
  </pc:docChgLst>
  <pc:docChgLst>
    <pc:chgData name="山田 英治" userId="9ffee3f4-f216-48e4-9b3d-afa6a3405312" providerId="ADAL" clId="{8C7E8533-2B5D-4179-9028-7DFC2FBF198D}"/>
    <pc:docChg chg="custSel modSld modNotesMaster">
      <pc:chgData name="山田 英治" userId="9ffee3f4-f216-48e4-9b3d-afa6a3405312" providerId="ADAL" clId="{8C7E8533-2B5D-4179-9028-7DFC2FBF198D}" dt="2024-11-15T01:39:19.683" v="41" actId="478"/>
      <pc:docMkLst>
        <pc:docMk/>
      </pc:docMkLst>
      <pc:sldChg chg="modNotes">
        <pc:chgData name="山田 英治" userId="9ffee3f4-f216-48e4-9b3d-afa6a3405312" providerId="ADAL" clId="{8C7E8533-2B5D-4179-9028-7DFC2FBF198D}" dt="2024-11-15T01:38:30.859" v="23" actId="478"/>
        <pc:sldMkLst>
          <pc:docMk/>
          <pc:sldMk cId="395716941" sldId="419"/>
        </pc:sldMkLst>
      </pc:sldChg>
      <pc:sldChg chg="modNotes">
        <pc:chgData name="山田 英治" userId="9ffee3f4-f216-48e4-9b3d-afa6a3405312" providerId="ADAL" clId="{8C7E8533-2B5D-4179-9028-7DFC2FBF198D}" dt="2024-11-15T01:37:26.311" v="3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8C7E8533-2B5D-4179-9028-7DFC2FBF198D}" dt="2024-11-15T01:37:46.311" v="9" actId="478"/>
        <pc:sldMkLst>
          <pc:docMk/>
          <pc:sldMk cId="1601301316" sldId="457"/>
        </pc:sldMkLst>
      </pc:sldChg>
      <pc:sldChg chg="modNotes">
        <pc:chgData name="山田 英治" userId="9ffee3f4-f216-48e4-9b3d-afa6a3405312" providerId="ADAL" clId="{8C7E8533-2B5D-4179-9028-7DFC2FBF198D}" dt="2024-11-15T01:38:36.402" v="25" actId="478"/>
        <pc:sldMkLst>
          <pc:docMk/>
          <pc:sldMk cId="2948148992" sldId="466"/>
        </pc:sldMkLst>
      </pc:sldChg>
      <pc:sldChg chg="modNotes">
        <pc:chgData name="山田 英治" userId="9ffee3f4-f216-48e4-9b3d-afa6a3405312" providerId="ADAL" clId="{8C7E8533-2B5D-4179-9028-7DFC2FBF198D}" dt="2024-11-15T01:38:24.991" v="21" actId="478"/>
        <pc:sldMkLst>
          <pc:docMk/>
          <pc:sldMk cId="2896774336" sldId="476"/>
        </pc:sldMkLst>
      </pc:sldChg>
      <pc:sldChg chg="modNotes">
        <pc:chgData name="山田 英治" userId="9ffee3f4-f216-48e4-9b3d-afa6a3405312" providerId="ADAL" clId="{8C7E8533-2B5D-4179-9028-7DFC2FBF198D}" dt="2024-11-15T01:39:03.814" v="35" actId="478"/>
        <pc:sldMkLst>
          <pc:docMk/>
          <pc:sldMk cId="1273880140" sldId="480"/>
        </pc:sldMkLst>
      </pc:sldChg>
      <pc:sldChg chg="modNotes">
        <pc:chgData name="山田 英治" userId="9ffee3f4-f216-48e4-9b3d-afa6a3405312" providerId="ADAL" clId="{8C7E8533-2B5D-4179-9028-7DFC2FBF198D}" dt="2024-11-15T01:39:09.013" v="37" actId="478"/>
        <pc:sldMkLst>
          <pc:docMk/>
          <pc:sldMk cId="1275897642" sldId="481"/>
        </pc:sldMkLst>
      </pc:sldChg>
      <pc:sldChg chg="modNotes">
        <pc:chgData name="山田 英治" userId="9ffee3f4-f216-48e4-9b3d-afa6a3405312" providerId="ADAL" clId="{8C7E8533-2B5D-4179-9028-7DFC2FBF198D}" dt="2024-11-15T01:39:14.541" v="39" actId="478"/>
        <pc:sldMkLst>
          <pc:docMk/>
          <pc:sldMk cId="664785155" sldId="482"/>
        </pc:sldMkLst>
      </pc:sldChg>
      <pc:sldChg chg="modNotes">
        <pc:chgData name="山田 英治" userId="9ffee3f4-f216-48e4-9b3d-afa6a3405312" providerId="ADAL" clId="{8C7E8533-2B5D-4179-9028-7DFC2FBF198D}" dt="2024-11-15T01:37:34.501" v="5" actId="478"/>
        <pc:sldMkLst>
          <pc:docMk/>
          <pc:sldMk cId="677074070" sldId="483"/>
        </pc:sldMkLst>
      </pc:sldChg>
      <pc:sldChg chg="modNotes">
        <pc:chgData name="山田 英治" userId="9ffee3f4-f216-48e4-9b3d-afa6a3405312" providerId="ADAL" clId="{8C7E8533-2B5D-4179-9028-7DFC2FBF198D}" dt="2024-11-15T01:37:40.358" v="7" actId="478"/>
        <pc:sldMkLst>
          <pc:docMk/>
          <pc:sldMk cId="2818223282" sldId="484"/>
        </pc:sldMkLst>
      </pc:sldChg>
      <pc:sldChg chg="modNotes">
        <pc:chgData name="山田 英治" userId="9ffee3f4-f216-48e4-9b3d-afa6a3405312" providerId="ADAL" clId="{8C7E8533-2B5D-4179-9028-7DFC2FBF198D}" dt="2024-11-15T01:38:48.273" v="29" actId="478"/>
        <pc:sldMkLst>
          <pc:docMk/>
          <pc:sldMk cId="3870930967" sldId="495"/>
        </pc:sldMkLst>
      </pc:sldChg>
      <pc:sldChg chg="modNotes">
        <pc:chgData name="山田 英治" userId="9ffee3f4-f216-48e4-9b3d-afa6a3405312" providerId="ADAL" clId="{8C7E8533-2B5D-4179-9028-7DFC2FBF198D}" dt="2024-11-15T01:37:53.050" v="11" actId="478"/>
        <pc:sldMkLst>
          <pc:docMk/>
          <pc:sldMk cId="4283024113" sldId="503"/>
        </pc:sldMkLst>
      </pc:sldChg>
      <pc:sldChg chg="modNotes">
        <pc:chgData name="山田 英治" userId="9ffee3f4-f216-48e4-9b3d-afa6a3405312" providerId="ADAL" clId="{8C7E8533-2B5D-4179-9028-7DFC2FBF198D}" dt="2024-11-15T01:37:59.169" v="13" actId="478"/>
        <pc:sldMkLst>
          <pc:docMk/>
          <pc:sldMk cId="3215160019" sldId="504"/>
        </pc:sldMkLst>
      </pc:sldChg>
      <pc:sldChg chg="modNotes">
        <pc:chgData name="山田 英治" userId="9ffee3f4-f216-48e4-9b3d-afa6a3405312" providerId="ADAL" clId="{8C7E8533-2B5D-4179-9028-7DFC2FBF198D}" dt="2024-11-15T01:38:05.669" v="15" actId="478"/>
        <pc:sldMkLst>
          <pc:docMk/>
          <pc:sldMk cId="187603199" sldId="505"/>
        </pc:sldMkLst>
      </pc:sldChg>
      <pc:sldChg chg="modNotes">
        <pc:chgData name="山田 英治" userId="9ffee3f4-f216-48e4-9b3d-afa6a3405312" providerId="ADAL" clId="{8C7E8533-2B5D-4179-9028-7DFC2FBF198D}" dt="2024-11-15T01:38:11.449" v="17" actId="478"/>
        <pc:sldMkLst>
          <pc:docMk/>
          <pc:sldMk cId="1127823873" sldId="507"/>
        </pc:sldMkLst>
      </pc:sldChg>
      <pc:sldChg chg="modNotes">
        <pc:chgData name="山田 英治" userId="9ffee3f4-f216-48e4-9b3d-afa6a3405312" providerId="ADAL" clId="{8C7E8533-2B5D-4179-9028-7DFC2FBF198D}" dt="2024-11-15T01:38:53.319" v="31" actId="478"/>
        <pc:sldMkLst>
          <pc:docMk/>
          <pc:sldMk cId="2454161415" sldId="508"/>
        </pc:sldMkLst>
      </pc:sldChg>
      <pc:sldChg chg="modNotes">
        <pc:chgData name="山田 英治" userId="9ffee3f4-f216-48e4-9b3d-afa6a3405312" providerId="ADAL" clId="{8C7E8533-2B5D-4179-9028-7DFC2FBF198D}" dt="2024-11-15T01:38:58.323" v="33" actId="478"/>
        <pc:sldMkLst>
          <pc:docMk/>
          <pc:sldMk cId="3978744359" sldId="509"/>
        </pc:sldMkLst>
      </pc:sldChg>
      <pc:sldChg chg="modNotes">
        <pc:chgData name="山田 英治" userId="9ffee3f4-f216-48e4-9b3d-afa6a3405312" providerId="ADAL" clId="{8C7E8533-2B5D-4179-9028-7DFC2FBF198D}" dt="2024-11-15T01:38:19.533" v="19" actId="478"/>
        <pc:sldMkLst>
          <pc:docMk/>
          <pc:sldMk cId="3666176951" sldId="510"/>
        </pc:sldMkLst>
      </pc:sldChg>
      <pc:sldChg chg="modNotes">
        <pc:chgData name="山田 英治" userId="9ffee3f4-f216-48e4-9b3d-afa6a3405312" providerId="ADAL" clId="{8C7E8533-2B5D-4179-9028-7DFC2FBF198D}" dt="2024-11-15T01:38:43.345" v="27" actId="478"/>
        <pc:sldMkLst>
          <pc:docMk/>
          <pc:sldMk cId="4194934073" sldId="511"/>
        </pc:sldMkLst>
      </pc:sldChg>
      <pc:sldChg chg="modNotes">
        <pc:chgData name="山田 英治" userId="9ffee3f4-f216-48e4-9b3d-afa6a3405312" providerId="ADAL" clId="{8C7E8533-2B5D-4179-9028-7DFC2FBF198D}" dt="2024-11-15T01:39:19.683" v="41" actId="478"/>
        <pc:sldMkLst>
          <pc:docMk/>
          <pc:sldMk cId="264530865" sldId="512"/>
        </pc:sldMkLst>
      </pc:sldChg>
    </pc:docChg>
  </pc:docChgLst>
  <pc:docChgLst>
    <pc:chgData name="佐藤 悠哉" userId="faebc9e1-2a1d-42c8-8ba1-e1a81c5add00" providerId="ADAL" clId="{85443FB1-F565-430F-A0A8-1105B1400627}"/>
    <pc:docChg chg="custSel modSld modNotesMaster">
      <pc:chgData name="佐藤 悠哉" userId="faebc9e1-2a1d-42c8-8ba1-e1a81c5add00" providerId="ADAL" clId="{85443FB1-F565-430F-A0A8-1105B1400627}" dt="2024-11-15T01:12:24.628" v="10" actId="478"/>
      <pc:docMkLst>
        <pc:docMk/>
      </pc:docMkLst>
      <pc:sldChg chg="modNotes">
        <pc:chgData name="佐藤 悠哉" userId="faebc9e1-2a1d-42c8-8ba1-e1a81c5add00" providerId="ADAL" clId="{85443FB1-F565-430F-A0A8-1105B1400627}" dt="2024-11-15T01:12:07.786" v="6" actId="478"/>
        <pc:sldMkLst>
          <pc:docMk/>
          <pc:sldMk cId="3308167297" sldId="456"/>
        </pc:sldMkLst>
      </pc:sldChg>
      <pc:sldChg chg="modNotes">
        <pc:chgData name="佐藤 悠哉" userId="faebc9e1-2a1d-42c8-8ba1-e1a81c5add00" providerId="ADAL" clId="{85443FB1-F565-430F-A0A8-1105B1400627}" dt="2024-11-15T01:12:17.030" v="8" actId="478"/>
        <pc:sldMkLst>
          <pc:docMk/>
          <pc:sldMk cId="677074070" sldId="483"/>
        </pc:sldMkLst>
      </pc:sldChg>
      <pc:sldChg chg="modNotes">
        <pc:chgData name="佐藤 悠哉" userId="faebc9e1-2a1d-42c8-8ba1-e1a81c5add00" providerId="ADAL" clId="{85443FB1-F565-430F-A0A8-1105B1400627}" dt="2024-11-15T01:12:24.628" v="10" actId="478"/>
        <pc:sldMkLst>
          <pc:docMk/>
          <pc:sldMk cId="2818223282" sldId="48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1" tIns="45700" rIns="91401" bIns="4570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7801" y="4749691"/>
            <a:ext cx="6521755" cy="4512356"/>
          </a:xfrm>
          <a:prstGeom prst="rect">
            <a:avLst/>
          </a:prstGeom>
        </p:spPr>
        <p:txBody>
          <a:bodyPr vert="horz" lIns="91401" tIns="45700" rIns="91401" bIns="4570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5CD9735-DDCB-87A4-E83B-CC9D2FAB1D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0B7824AE-B4D2-2AE9-5BE5-38E535C90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8387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8226BACE-7F90-17D9-B6D0-0ECB030E3D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79A83811-DB74-2A26-A014-72E22EB748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035524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39C8C72-7D0B-8C9C-532D-0AD3F44851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37DE4B9-EB32-9A61-D88A-242FBF56F06C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36648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DCC4640E-8EB2-5353-0692-9FDBF7170F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7F50B19-31A0-AA3C-2E39-D70B3FCE72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4443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14AF731-D500-6AE5-4F7F-7448249866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31CFDE-CEBF-C26C-F45B-0CBFE4939DB9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07085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E30C7107-81DD-30D4-8CBB-1F691BD6B2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6FD4418-BE80-AB4E-BC0C-1D1DBFE605C6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30431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4991599-66FD-EB21-FA8A-A239D99A0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83027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AC0F62E0-4B2F-D895-36A7-B46925644E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54550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3B1AC8-8E56-B812-FD61-A81524E15D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6093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55C852E-3967-27A9-7ABD-7D8C9959FB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3C466984-EB0B-B081-CFCB-2E72F25E5A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31523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1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881F86E3-A719-2728-3BE2-2DFF6F72E3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8EA39409-8FA3-8C61-98A1-85598D3E18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2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C001B9-5706-D560-B693-1F941F442F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6DC17778-EFA4-53E5-CF22-9507DA539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64851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4DD58EF9-55F4-F2DA-C92C-02011CBA31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6408A5F-2941-7709-EFED-DBF3ACF418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92529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A8DA486E-3AC6-684C-3C88-5ACD57D07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2CF8D8F-6826-2FC7-6E77-C4E7BB0616EB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07655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9CAB42D0-FD91-0585-2BA0-DA97DBDCC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3B10453-C835-7A6C-C708-12E22DD1B971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946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064AE5E-CB7F-DDA3-176F-3BFC884B54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2387848-73FA-1621-80D9-96CFF0997844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76004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4C033C5-47DE-3048-39E6-7C4060D348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4984AF-F369-7FB1-F9F9-A8A57116DCD2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883627"/>
            <a:ext cx="9144000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4.png"/><Relationship Id="rId9" Type="http://schemas.openxmlformats.org/officeDocument/2006/relationships/image" Target="../media/image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1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3.png"/><Relationship Id="rId1" Type="http://schemas.openxmlformats.org/officeDocument/2006/relationships/tags" Target="../tags/tag9.xml"/><Relationship Id="rId6" Type="http://schemas.openxmlformats.org/officeDocument/2006/relationships/image" Target="../media/image12.jpeg"/><Relationship Id="rId11" Type="http://schemas.openxmlformats.org/officeDocument/2006/relationships/image" Target="../media/image18.png"/><Relationship Id="rId5" Type="http://schemas.openxmlformats.org/officeDocument/2006/relationships/image" Target="../media/image11.jpe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4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4.png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32.pn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4.png"/><Relationship Id="rId9" Type="http://schemas.openxmlformats.org/officeDocument/2006/relationships/image" Target="../media/image33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36.png"/><Relationship Id="rId11" Type="http://schemas.openxmlformats.org/officeDocument/2006/relationships/image" Target="../media/image35.png"/><Relationship Id="rId5" Type="http://schemas.openxmlformats.org/officeDocument/2006/relationships/image" Target="../media/image5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diagramData" Target="../diagrams/data1.xml"/><Relationship Id="rId5" Type="http://schemas.openxmlformats.org/officeDocument/2006/relationships/image" Target="../media/image5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4.png"/><Relationship Id="rId9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3.jpeg"/><Relationship Id="rId11" Type="http://schemas.openxmlformats.org/officeDocument/2006/relationships/image" Target="../media/image7.jpeg"/><Relationship Id="rId5" Type="http://schemas.openxmlformats.org/officeDocument/2006/relationships/image" Target="../media/image12.jpeg"/><Relationship Id="rId10" Type="http://schemas.openxmlformats.org/officeDocument/2006/relationships/image" Target="../media/image5.emf"/><Relationship Id="rId4" Type="http://schemas.openxmlformats.org/officeDocument/2006/relationships/image" Target="../media/image4.png"/><Relationship Id="rId9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2.jpeg"/><Relationship Id="rId5" Type="http://schemas.openxmlformats.org/officeDocument/2006/relationships/image" Target="../media/image14.jpe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の入れ方、</a:t>
            </a:r>
            <a:endParaRPr lang="en-US" altLang="ja-JP" sz="4799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操作の仕方を知ろ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１１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E0A5F7E3-5E41-E40F-05D6-3665CC4F0A06}"/>
              </a:ext>
            </a:extLst>
          </p:cNvPr>
          <p:cNvGrpSpPr/>
          <p:nvPr/>
        </p:nvGrpSpPr>
        <p:grpSpPr>
          <a:xfrm>
            <a:off x="4352943" y="2066672"/>
            <a:ext cx="4950613" cy="4950613"/>
            <a:chOff x="490652" y="2442118"/>
            <a:chExt cx="3839735" cy="3839735"/>
          </a:xfrm>
        </p:grpSpPr>
        <p:pic>
          <p:nvPicPr>
            <p:cNvPr id="2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9BA3D3E-B599-7F18-DB9E-8210592CD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30" name="図 11">
              <a:extLst>
                <a:ext uri="{FF2B5EF4-FFF2-40B4-BE49-F238E27FC236}">
                  <a16:creationId xmlns:a16="http://schemas.microsoft.com/office/drawing/2014/main" id="{DACD8319-09E7-33FB-2407-E790145B2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894EBAC5-52AC-D9CE-7A56-7373232B5817}"/>
              </a:ext>
            </a:extLst>
          </p:cNvPr>
          <p:cNvGrpSpPr/>
          <p:nvPr/>
        </p:nvGrpSpPr>
        <p:grpSpPr>
          <a:xfrm>
            <a:off x="-344019" y="1964809"/>
            <a:ext cx="6882797" cy="5059197"/>
            <a:chOff x="339520" y="2370132"/>
            <a:chExt cx="5223775" cy="3839735"/>
          </a:xfrm>
        </p:grpSpPr>
        <p:pic>
          <p:nvPicPr>
            <p:cNvPr id="37" name="図 36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B5CB1E44-28C0-6CEA-983C-3DB16D5E7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27719" y="2920574"/>
              <a:ext cx="364274" cy="1713803"/>
            </a:xfrm>
            <a:prstGeom prst="rect">
              <a:avLst/>
            </a:prstGeom>
          </p:spPr>
        </p:pic>
        <p:grpSp>
          <p:nvGrpSpPr>
            <p:cNvPr id="42" name="グループ化 41">
              <a:extLst>
                <a:ext uri="{FF2B5EF4-FFF2-40B4-BE49-F238E27FC236}">
                  <a16:creationId xmlns:a16="http://schemas.microsoft.com/office/drawing/2014/main" id="{942D86E2-466B-0184-6B79-CCA44EF4550E}"/>
                </a:ext>
              </a:extLst>
            </p:cNvPr>
            <p:cNvGrpSpPr/>
            <p:nvPr/>
          </p:nvGrpSpPr>
          <p:grpSpPr>
            <a:xfrm>
              <a:off x="33952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3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A9D34823-67DA-9583-2481-A6DFED7A60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4" name="Picture 2">
                <a:extLst>
                  <a:ext uri="{FF2B5EF4-FFF2-40B4-BE49-F238E27FC236}">
                    <a16:creationId xmlns:a16="http://schemas.microsoft.com/office/drawing/2014/main" id="{65FD159B-830D-3EFF-9297-D9484C3306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図 10">
                <a:extLst>
                  <a:ext uri="{FF2B5EF4-FFF2-40B4-BE49-F238E27FC236}">
                    <a16:creationId xmlns:a16="http://schemas.microsoft.com/office/drawing/2014/main" id="{ED9CBDEE-C1E6-C398-C780-83D63CA6A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AFE8C95E-4309-A6A5-5B12-6DBA2ADE5D0A}"/>
                </a:ext>
              </a:extLst>
            </p:cNvPr>
            <p:cNvSpPr txBox="1"/>
            <p:nvPr/>
          </p:nvSpPr>
          <p:spPr>
            <a:xfrm>
              <a:off x="3706857" y="2920574"/>
              <a:ext cx="1856438" cy="17543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音量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4" name="四角形: 角を丸くする 33">
              <a:extLst>
                <a:ext uri="{FF2B5EF4-FFF2-40B4-BE49-F238E27FC236}">
                  <a16:creationId xmlns:a16="http://schemas.microsoft.com/office/drawing/2014/main" id="{6BB10F5D-609D-6AEE-4FDE-847867F5156B}"/>
                </a:ext>
              </a:extLst>
            </p:cNvPr>
            <p:cNvSpPr/>
            <p:nvPr/>
          </p:nvSpPr>
          <p:spPr>
            <a:xfrm>
              <a:off x="3053373" y="3737081"/>
              <a:ext cx="189095" cy="756000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6" name="直線コネクタ 35">
              <a:extLst>
                <a:ext uri="{FF2B5EF4-FFF2-40B4-BE49-F238E27FC236}">
                  <a16:creationId xmlns:a16="http://schemas.microsoft.com/office/drawing/2014/main" id="{DEC33378-CF3A-3B3D-CC11-33BEC6EF5A88}"/>
                </a:ext>
              </a:extLst>
            </p:cNvPr>
            <p:cNvCxnSpPr>
              <a:cxnSpLocks/>
              <a:stCxn id="34" idx="3"/>
              <a:endCxn id="39" idx="1"/>
            </p:cNvCxnSpPr>
            <p:nvPr/>
          </p:nvCxnSpPr>
          <p:spPr>
            <a:xfrm>
              <a:off x="3242468" y="4115081"/>
              <a:ext cx="117531" cy="174919"/>
            </a:xfrm>
            <a:prstGeom prst="line">
              <a:avLst/>
            </a:prstGeom>
            <a:ln w="1905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四角形: 角を丸くする 38">
              <a:extLst>
                <a:ext uri="{FF2B5EF4-FFF2-40B4-BE49-F238E27FC236}">
                  <a16:creationId xmlns:a16="http://schemas.microsoft.com/office/drawing/2014/main" id="{7A6F99C7-F046-B765-2491-B4BB0AC173FA}"/>
                </a:ext>
              </a:extLst>
            </p:cNvPr>
            <p:cNvSpPr/>
            <p:nvPr/>
          </p:nvSpPr>
          <p:spPr>
            <a:xfrm>
              <a:off x="3359999" y="3966327"/>
              <a:ext cx="307470" cy="647346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4AFB7DE4-02E7-D81C-3AB4-96C7DB10C7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618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図 10">
              <a:extLst>
                <a:ext uri="{FF2B5EF4-FFF2-40B4-BE49-F238E27FC236}">
                  <a16:creationId xmlns:a16="http://schemas.microsoft.com/office/drawing/2014/main" id="{41D239ED-9F4D-C3E5-3AA4-922342E8F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33346" y="2659158"/>
              <a:ext cx="400050" cy="82853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4791FFBE-E311-8DCB-2AF3-9F158F363683}"/>
              </a:ext>
            </a:extLst>
          </p:cNvPr>
          <p:cNvSpPr txBox="1"/>
          <p:nvPr/>
        </p:nvSpPr>
        <p:spPr>
          <a:xfrm>
            <a:off x="5665699" y="1368921"/>
            <a:ext cx="2866345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が暗くなっ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の状態です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9CF2EC3B-022E-5C3B-A68E-1DFD18C49BEC}"/>
              </a:ext>
            </a:extLst>
          </p:cNvPr>
          <p:cNvSpPr txBox="1"/>
          <p:nvPr/>
        </p:nvSpPr>
        <p:spPr>
          <a:xfrm>
            <a:off x="541900" y="131498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D52D22-4E7D-3765-91DB-9AD2DB009B5A}"/>
              </a:ext>
            </a:extLst>
          </p:cNvPr>
          <p:cNvSpPr txBox="1"/>
          <p:nvPr/>
        </p:nvSpPr>
        <p:spPr>
          <a:xfrm>
            <a:off x="5202013" y="125462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9ADEED7-EE04-70B7-A9AC-D61E5C62D27E}"/>
              </a:ext>
            </a:extLst>
          </p:cNvPr>
          <p:cNvSpPr txBox="1"/>
          <p:nvPr/>
        </p:nvSpPr>
        <p:spPr>
          <a:xfrm>
            <a:off x="1036098" y="1368921"/>
            <a:ext cx="3031096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軽く押します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B3450A5-E220-EE82-5038-212195C725A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８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B52A6D28-9F5C-A9CA-18EA-DE68C7C39B3F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2896774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F69D0A6-C124-016D-3D20-0F8C3501515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984"/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B5764BE9-1283-D0C7-D76B-D772C729D94C}"/>
              </a:ext>
            </a:extLst>
          </p:cNvPr>
          <p:cNvSpPr txBox="1">
            <a:spLocks/>
          </p:cNvSpPr>
          <p:nvPr/>
        </p:nvSpPr>
        <p:spPr>
          <a:xfrm>
            <a:off x="1099001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ja-JP" altLang="en-US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ボタン操作の仕方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F5582AEE-E0A1-9674-B80A-99ECB115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3399ADD-C59F-F4C3-18D7-CD1FFB794A40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6264291A-D2E2-3972-2358-464109BE55D6}"/>
              </a:ext>
            </a:extLst>
          </p:cNvPr>
          <p:cNvGrpSpPr>
            <a:grpSpLocks noChangeAspect="1"/>
          </p:cNvGrpSpPr>
          <p:nvPr/>
        </p:nvGrpSpPr>
        <p:grpSpPr>
          <a:xfrm>
            <a:off x="-265067" y="2036805"/>
            <a:ext cx="4936554" cy="4936554"/>
            <a:chOff x="271280" y="2370132"/>
            <a:chExt cx="3839735" cy="3839735"/>
          </a:xfrm>
        </p:grpSpPr>
        <p:grpSp>
          <p:nvGrpSpPr>
            <p:cNvPr id="43" name="グループ化 42">
              <a:extLst>
                <a:ext uri="{FF2B5EF4-FFF2-40B4-BE49-F238E27FC236}">
                  <a16:creationId xmlns:a16="http://schemas.microsoft.com/office/drawing/2014/main" id="{8331F2F6-D57C-EF56-9CB7-EE3292308F23}"/>
                </a:ext>
              </a:extLst>
            </p:cNvPr>
            <p:cNvGrpSpPr/>
            <p:nvPr/>
          </p:nvGrpSpPr>
          <p:grpSpPr>
            <a:xfrm>
              <a:off x="27128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730D4380-5739-7E61-5524-89B7E0A7CD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5" name="Picture 2">
                <a:extLst>
                  <a:ext uri="{FF2B5EF4-FFF2-40B4-BE49-F238E27FC236}">
                    <a16:creationId xmlns:a16="http://schemas.microsoft.com/office/drawing/2014/main" id="{31F8C354-8392-76FE-F515-1867BE2F25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図 10">
                <a:extLst>
                  <a:ext uri="{FF2B5EF4-FFF2-40B4-BE49-F238E27FC236}">
                    <a16:creationId xmlns:a16="http://schemas.microsoft.com/office/drawing/2014/main" id="{47D990BC-63FA-BAB2-DA8C-B98A2993D3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AAD81CE4-A451-2629-0508-08250BF61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794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A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電源・音量ボタン</a:t>
            </a:r>
            <a:endParaRPr lang="ja-JP" altLang="en-US" sz="2799">
              <a:solidFill>
                <a:srgbClr val="4472C4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E4B44E0-D761-E3E0-EB66-A7B647EB387C}"/>
              </a:ext>
            </a:extLst>
          </p:cNvPr>
          <p:cNvSpPr txBox="1"/>
          <p:nvPr/>
        </p:nvSpPr>
        <p:spPr>
          <a:xfrm>
            <a:off x="4857812" y="3603417"/>
            <a:ext cx="4229344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下側を押すと音量が小さくなる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538E05E-7183-0975-749A-6E693E90DC5A}"/>
              </a:ext>
            </a:extLst>
          </p:cNvPr>
          <p:cNvSpPr txBox="1"/>
          <p:nvPr/>
        </p:nvSpPr>
        <p:spPr>
          <a:xfrm>
            <a:off x="4857812" y="2869557"/>
            <a:ext cx="3968687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上側を押すと音量が大きくなる</a:t>
            </a: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1C259047-2B4F-78A8-86CA-5662A64CC928}"/>
              </a:ext>
            </a:extLst>
          </p:cNvPr>
          <p:cNvSpPr/>
          <p:nvPr/>
        </p:nvSpPr>
        <p:spPr>
          <a:xfrm>
            <a:off x="4356432" y="2905380"/>
            <a:ext cx="302355" cy="88366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D07D11D8-279E-2888-D890-6E3111D015A5}"/>
              </a:ext>
            </a:extLst>
          </p:cNvPr>
          <p:cNvSpPr txBox="1">
            <a:spLocks/>
          </p:cNvSpPr>
          <p:nvPr/>
        </p:nvSpPr>
        <p:spPr>
          <a:xfrm>
            <a:off x="379412" y="1153107"/>
            <a:ext cx="8385175" cy="10108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ってボタンの位置は変わりますが、多くの機種では左右どちらかの</a:t>
            </a:r>
            <a:endParaRPr lang="en-US" altLang="ja-JP" sz="18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側面にあります</a:t>
            </a:r>
            <a:endParaRPr lang="en-US" altLang="ja-JP" sz="16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CF262F7-4C0A-61DC-D4E7-34CBCD19AEEB}"/>
              </a:ext>
            </a:extLst>
          </p:cNvPr>
          <p:cNvSpPr txBox="1"/>
          <p:nvPr/>
        </p:nvSpPr>
        <p:spPr>
          <a:xfrm>
            <a:off x="4753337" y="2531702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音量ボタン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3BCC29DD-DE31-567A-9ADE-16E57E14A44D}"/>
              </a:ext>
            </a:extLst>
          </p:cNvPr>
          <p:cNvSpPr txBox="1"/>
          <p:nvPr/>
        </p:nvSpPr>
        <p:spPr>
          <a:xfrm>
            <a:off x="4857812" y="5318108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電源ボタン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0AF5B477-D33C-9088-135A-AD5E610F7704}"/>
              </a:ext>
            </a:extLst>
          </p:cNvPr>
          <p:cNvSpPr/>
          <p:nvPr/>
        </p:nvSpPr>
        <p:spPr>
          <a:xfrm>
            <a:off x="4417005" y="5085184"/>
            <a:ext cx="272701" cy="72008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37B61F7B-099A-2E44-9817-783523CBE49E}"/>
              </a:ext>
            </a:extLst>
          </p:cNvPr>
          <p:cNvGrpSpPr/>
          <p:nvPr/>
        </p:nvGrpSpPr>
        <p:grpSpPr>
          <a:xfrm>
            <a:off x="3154043" y="2762598"/>
            <a:ext cx="1697667" cy="3302852"/>
            <a:chOff x="3154043" y="2762598"/>
            <a:chExt cx="1697667" cy="3302852"/>
          </a:xfrm>
        </p:grpSpPr>
        <p:sp>
          <p:nvSpPr>
            <p:cNvPr id="31" name="四角形: 角を丸くする 30">
              <a:extLst>
                <a:ext uri="{FF2B5EF4-FFF2-40B4-BE49-F238E27FC236}">
                  <a16:creationId xmlns:a16="http://schemas.microsoft.com/office/drawing/2014/main" id="{EFF1F010-CCF5-9FE8-396C-A4430DA71ED9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2" name="直線コネクタ 31">
              <a:extLst>
                <a:ext uri="{FF2B5EF4-FFF2-40B4-BE49-F238E27FC236}">
                  <a16:creationId xmlns:a16="http://schemas.microsoft.com/office/drawing/2014/main" id="{CB050BFB-4562-0EEA-0841-F97B6D906A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60103" y="2795637"/>
              <a:ext cx="792483" cy="54450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線コネクタ 32">
              <a:extLst>
                <a:ext uri="{FF2B5EF4-FFF2-40B4-BE49-F238E27FC236}">
                  <a16:creationId xmlns:a16="http://schemas.microsoft.com/office/drawing/2014/main" id="{DC098561-1FC0-52CA-FFC6-56D7E6ED316E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85" y="4514375"/>
              <a:ext cx="844543" cy="1533291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85AD1705-308D-2763-ED82-9B5283D7D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62193" y="2762598"/>
              <a:ext cx="689517" cy="3302852"/>
            </a:xfrm>
            <a:prstGeom prst="rect">
              <a:avLst/>
            </a:prstGeom>
          </p:spPr>
        </p:pic>
      </p:grpSp>
      <p:sp>
        <p:nvSpPr>
          <p:cNvPr id="35" name="四角形: 角を丸くする 34">
            <a:extLst>
              <a:ext uri="{FF2B5EF4-FFF2-40B4-BE49-F238E27FC236}">
                <a16:creationId xmlns:a16="http://schemas.microsoft.com/office/drawing/2014/main" id="{96FD5969-A428-A5EC-4B8E-29C2CFA3DC97}"/>
              </a:ext>
            </a:extLst>
          </p:cNvPr>
          <p:cNvSpPr/>
          <p:nvPr/>
        </p:nvSpPr>
        <p:spPr>
          <a:xfrm>
            <a:off x="4366460" y="2795449"/>
            <a:ext cx="298176" cy="647344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3FE2FDFD-D5ED-46F9-D0C6-223CE525DDC6}"/>
              </a:ext>
            </a:extLst>
          </p:cNvPr>
          <p:cNvSpPr/>
          <p:nvPr/>
        </p:nvSpPr>
        <p:spPr>
          <a:xfrm>
            <a:off x="4366460" y="3548156"/>
            <a:ext cx="298177" cy="582296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97D7401-3D31-03BB-86FA-8EAA9E37133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8148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FB478AE-2667-C972-134D-2A4E518207A6}"/>
              </a:ext>
            </a:extLst>
          </p:cNvPr>
          <p:cNvGrpSpPr/>
          <p:nvPr/>
        </p:nvGrpSpPr>
        <p:grpSpPr>
          <a:xfrm>
            <a:off x="2109782" y="1720199"/>
            <a:ext cx="4829930" cy="4829930"/>
            <a:chOff x="580011" y="2408312"/>
            <a:chExt cx="3839735" cy="3839735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B03FEA18-D4B1-AA71-CC93-4EF497F7A52B}"/>
                </a:ext>
              </a:extLst>
            </p:cNvPr>
            <p:cNvGrpSpPr/>
            <p:nvPr/>
          </p:nvGrpSpPr>
          <p:grpSpPr>
            <a:xfrm>
              <a:off x="580011" y="2408312"/>
              <a:ext cx="3839735" cy="3839735"/>
              <a:chOff x="5423455" y="2345652"/>
              <a:chExt cx="3839735" cy="3839735"/>
            </a:xfrm>
          </p:grpSpPr>
          <p:pic>
            <p:nvPicPr>
              <p:cNvPr id="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242721FC-BFC4-8BEE-857D-95F70A1193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2345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5" name="図 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D59CC1E-10C4-ACE1-06CC-DC9CEB0823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70EAF4EB-6B63-DBA9-8128-9DBB57AC4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60330" y="2652547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044026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7BA7D9E2-69E6-1242-9E60-5E900CB9AA58}"/>
              </a:ext>
            </a:extLst>
          </p:cNvPr>
          <p:cNvCxnSpPr>
            <a:cxnSpLocks/>
            <a:endCxn id="10" idx="0"/>
          </p:cNvCxnSpPr>
          <p:nvPr/>
        </p:nvCxnSpPr>
        <p:spPr>
          <a:xfrm rot="10800000" flipV="1">
            <a:off x="4539814" y="1717807"/>
            <a:ext cx="303773" cy="24794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A59EAD2-1E20-64CB-B1F7-D8F93F9593D4}"/>
              </a:ext>
            </a:extLst>
          </p:cNvPr>
          <p:cNvSpPr txBox="1"/>
          <p:nvPr/>
        </p:nvSpPr>
        <p:spPr>
          <a:xfrm>
            <a:off x="1227392" y="2191625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前面カメラ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6B25B8A-A0C1-D071-1EB8-C509A316BBB2}"/>
              </a:ext>
            </a:extLst>
          </p:cNvPr>
          <p:cNvSpPr txBox="1"/>
          <p:nvPr/>
        </p:nvSpPr>
        <p:spPr>
          <a:xfrm>
            <a:off x="4802322" y="1529921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E743D621-CD98-B547-9F1B-0E0DCD10200C}"/>
              </a:ext>
            </a:extLst>
          </p:cNvPr>
          <p:cNvCxnSpPr>
            <a:cxnSpLocks/>
            <a:stCxn id="25" idx="3"/>
            <a:endCxn id="15" idx="2"/>
          </p:cNvCxnSpPr>
          <p:nvPr/>
        </p:nvCxnSpPr>
        <p:spPr>
          <a:xfrm flipV="1">
            <a:off x="2885287" y="2191625"/>
            <a:ext cx="1683140" cy="22883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0C97DED-9283-58E3-59DF-587D0246514C}"/>
              </a:ext>
            </a:extLst>
          </p:cNvPr>
          <p:cNvSpPr txBox="1"/>
          <p:nvPr/>
        </p:nvSpPr>
        <p:spPr>
          <a:xfrm>
            <a:off x="5753748" y="5014161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D0714DBE-C075-7986-3AD7-AADFD56698E0}"/>
              </a:ext>
            </a:extLst>
          </p:cNvPr>
          <p:cNvSpPr>
            <a:spLocks/>
          </p:cNvSpPr>
          <p:nvPr/>
        </p:nvSpPr>
        <p:spPr>
          <a:xfrm>
            <a:off x="4388505" y="5886391"/>
            <a:ext cx="326824" cy="34827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EBDB024-917B-B839-E626-9D0019F0272C}"/>
              </a:ext>
            </a:extLst>
          </p:cNvPr>
          <p:cNvSpPr txBox="1"/>
          <p:nvPr/>
        </p:nvSpPr>
        <p:spPr>
          <a:xfrm>
            <a:off x="6143861" y="294011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</a:p>
        </p:txBody>
      </p:sp>
      <p:cxnSp>
        <p:nvCxnSpPr>
          <p:cNvPr id="59" name="直線コネクタ 58">
            <a:extLst>
              <a:ext uri="{FF2B5EF4-FFF2-40B4-BE49-F238E27FC236}">
                <a16:creationId xmlns:a16="http://schemas.microsoft.com/office/drawing/2014/main" id="{B536AC9C-1ADB-8EB6-B09B-7783F80C4C1F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715668" y="3124778"/>
            <a:ext cx="428193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3612EC4A-FDE3-7893-B7EE-7EBDE4EE0EB2}"/>
              </a:ext>
            </a:extLst>
          </p:cNvPr>
          <p:cNvSpPr txBox="1"/>
          <p:nvPr/>
        </p:nvSpPr>
        <p:spPr>
          <a:xfrm>
            <a:off x="6106957" y="637298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充電口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95850193-7096-78FE-65A8-767264B6D5B8}"/>
              </a:ext>
            </a:extLst>
          </p:cNvPr>
          <p:cNvCxnSpPr>
            <a:cxnSpLocks/>
            <a:stCxn id="60" idx="1"/>
            <a:endCxn id="141" idx="2"/>
          </p:cNvCxnSpPr>
          <p:nvPr/>
        </p:nvCxnSpPr>
        <p:spPr>
          <a:xfrm rot="10800000">
            <a:off x="4565577" y="6391233"/>
            <a:ext cx="1541380" cy="166422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639CE9E6-791E-2FBC-C7F6-EDA4698E222E}"/>
              </a:ext>
            </a:extLst>
          </p:cNvPr>
          <p:cNvSpPr>
            <a:spLocks/>
          </p:cNvSpPr>
          <p:nvPr/>
        </p:nvSpPr>
        <p:spPr>
          <a:xfrm>
            <a:off x="430495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74DDAA6-FAB9-AC97-4292-90F168095D70}"/>
              </a:ext>
            </a:extLst>
          </p:cNvPr>
          <p:cNvSpPr/>
          <p:nvPr/>
        </p:nvSpPr>
        <p:spPr>
          <a:xfrm>
            <a:off x="4264385" y="1965751"/>
            <a:ext cx="550855" cy="80854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355761CC-AE4B-4798-77B1-2713F20D24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5509" y="1591283"/>
            <a:ext cx="357244" cy="307970"/>
          </a:xfrm>
          <a:prstGeom prst="rect">
            <a:avLst/>
          </a:prstGeom>
        </p:spPr>
      </p:pic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202B759-AA01-A30F-B9BB-DD752653B048}"/>
              </a:ext>
            </a:extLst>
          </p:cNvPr>
          <p:cNvSpPr/>
          <p:nvPr/>
        </p:nvSpPr>
        <p:spPr>
          <a:xfrm>
            <a:off x="4483583" y="2055338"/>
            <a:ext cx="169687" cy="13628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C15CF9FF-6533-CEFA-CA9A-88C1BB0FF6A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39918" y="2205726"/>
            <a:ext cx="445369" cy="429464"/>
          </a:xfrm>
          <a:prstGeom prst="rect">
            <a:avLst/>
          </a:prstGeom>
        </p:spPr>
      </p:pic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9884038B-674C-6797-8210-C8B0592CE096}"/>
              </a:ext>
            </a:extLst>
          </p:cNvPr>
          <p:cNvSpPr/>
          <p:nvPr/>
        </p:nvSpPr>
        <p:spPr>
          <a:xfrm>
            <a:off x="5507483" y="3530600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6C631A80-A109-5AEF-B402-3866CE2440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76943" y="2914661"/>
            <a:ext cx="390642" cy="390642"/>
          </a:xfrm>
          <a:prstGeom prst="rect">
            <a:avLst/>
          </a:prstGeom>
        </p:spPr>
      </p:pic>
      <p:sp>
        <p:nvSpPr>
          <p:cNvPr id="145" name="テキスト ボックス 144">
            <a:extLst>
              <a:ext uri="{FF2B5EF4-FFF2-40B4-BE49-F238E27FC236}">
                <a16:creationId xmlns:a16="http://schemas.microsoft.com/office/drawing/2014/main" id="{AF0E868B-C23F-C53C-3AAB-7A7917E47137}"/>
              </a:ext>
            </a:extLst>
          </p:cNvPr>
          <p:cNvSpPr txBox="1"/>
          <p:nvPr/>
        </p:nvSpPr>
        <p:spPr>
          <a:xfrm>
            <a:off x="6168896" y="361823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</a:t>
            </a:r>
          </a:p>
        </p:txBody>
      </p:sp>
      <p:cxnSp>
        <p:nvCxnSpPr>
          <p:cNvPr id="146" name="直線コネクタ 145">
            <a:extLst>
              <a:ext uri="{FF2B5EF4-FFF2-40B4-BE49-F238E27FC236}">
                <a16:creationId xmlns:a16="http://schemas.microsoft.com/office/drawing/2014/main" id="{89986B54-E578-EAD5-007F-8DC72668BBD0}"/>
              </a:ext>
            </a:extLst>
          </p:cNvPr>
          <p:cNvCxnSpPr>
            <a:cxnSpLocks/>
          </p:cNvCxnSpPr>
          <p:nvPr/>
        </p:nvCxnSpPr>
        <p:spPr>
          <a:xfrm>
            <a:off x="5696578" y="3816606"/>
            <a:ext cx="501917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1" name="図 150">
            <a:extLst>
              <a:ext uri="{FF2B5EF4-FFF2-40B4-BE49-F238E27FC236}">
                <a16:creationId xmlns:a16="http://schemas.microsoft.com/office/drawing/2014/main" id="{EBF4D653-A71E-C42D-A801-69D01E52CBC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03384" y="3680899"/>
            <a:ext cx="314440" cy="314440"/>
          </a:xfrm>
          <a:prstGeom prst="rect">
            <a:avLst/>
          </a:prstGeom>
        </p:spPr>
      </p:pic>
      <p:sp>
        <p:nvSpPr>
          <p:cNvPr id="153" name="四角形: 角を丸くする 152">
            <a:extLst>
              <a:ext uri="{FF2B5EF4-FFF2-40B4-BE49-F238E27FC236}">
                <a16:creationId xmlns:a16="http://schemas.microsoft.com/office/drawing/2014/main" id="{8AAC52AF-2170-FBA1-8FD9-340ACE332DFD}"/>
              </a:ext>
            </a:extLst>
          </p:cNvPr>
          <p:cNvSpPr/>
          <p:nvPr/>
        </p:nvSpPr>
        <p:spPr>
          <a:xfrm>
            <a:off x="4957639" y="596759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54" name="直線コネクタ 153">
            <a:extLst>
              <a:ext uri="{FF2B5EF4-FFF2-40B4-BE49-F238E27FC236}">
                <a16:creationId xmlns:a16="http://schemas.microsoft.com/office/drawing/2014/main" id="{F982FC81-166D-BAE8-E2F0-17DC94692B8F}"/>
              </a:ext>
            </a:extLst>
          </p:cNvPr>
          <p:cNvCxnSpPr>
            <a:cxnSpLocks/>
            <a:stCxn id="153" idx="3"/>
            <a:endCxn id="155" idx="1"/>
          </p:cNvCxnSpPr>
          <p:nvPr/>
        </p:nvCxnSpPr>
        <p:spPr>
          <a:xfrm flipV="1">
            <a:off x="5226115" y="6081227"/>
            <a:ext cx="994438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テキスト ボックス 154">
            <a:extLst>
              <a:ext uri="{FF2B5EF4-FFF2-40B4-BE49-F238E27FC236}">
                <a16:creationId xmlns:a16="http://schemas.microsoft.com/office/drawing/2014/main" id="{83853628-B471-6D8B-3836-524DA59E7E69}"/>
              </a:ext>
            </a:extLst>
          </p:cNvPr>
          <p:cNvSpPr txBox="1"/>
          <p:nvPr/>
        </p:nvSpPr>
        <p:spPr>
          <a:xfrm>
            <a:off x="6220553" y="5896561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る</a:t>
            </a:r>
          </a:p>
        </p:txBody>
      </p:sp>
      <p:pic>
        <p:nvPicPr>
          <p:cNvPr id="156" name="図 155">
            <a:extLst>
              <a:ext uri="{FF2B5EF4-FFF2-40B4-BE49-F238E27FC236}">
                <a16:creationId xmlns:a16="http://schemas.microsoft.com/office/drawing/2014/main" id="{5906FF09-B6BC-4472-BBBF-A3EC18DD47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44793" y="5969722"/>
            <a:ext cx="317905" cy="245653"/>
          </a:xfrm>
          <a:prstGeom prst="rect">
            <a:avLst/>
          </a:prstGeom>
        </p:spPr>
      </p:pic>
      <p:pic>
        <p:nvPicPr>
          <p:cNvPr id="159" name="図 158">
            <a:extLst>
              <a:ext uri="{FF2B5EF4-FFF2-40B4-BE49-F238E27FC236}">
                <a16:creationId xmlns:a16="http://schemas.microsoft.com/office/drawing/2014/main" id="{741BCF44-6531-79D1-6036-A712D7E9285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-954" t="89037" r="83374" b="-1776"/>
          <a:stretch/>
        </p:blipFill>
        <p:spPr>
          <a:xfrm>
            <a:off x="6901122" y="6245166"/>
            <a:ext cx="493101" cy="497044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6759608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9" name="図 178">
            <a:extLst>
              <a:ext uri="{FF2B5EF4-FFF2-40B4-BE49-F238E27FC236}">
                <a16:creationId xmlns:a16="http://schemas.microsoft.com/office/drawing/2014/main" id="{A7E5EE23-3A69-0801-FF34-30C9DA50555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61804" y="5030949"/>
            <a:ext cx="335756" cy="335756"/>
          </a:xfrm>
          <a:prstGeom prst="rect">
            <a:avLst/>
          </a:prstGeom>
        </p:spPr>
      </p:pic>
      <p:sp>
        <p:nvSpPr>
          <p:cNvPr id="182" name="四角形: 角を丸くする 181">
            <a:extLst>
              <a:ext uri="{FF2B5EF4-FFF2-40B4-BE49-F238E27FC236}">
                <a16:creationId xmlns:a16="http://schemas.microsoft.com/office/drawing/2014/main" id="{0A4094EC-E346-44AD-F533-456E333DFB7C}"/>
              </a:ext>
            </a:extLst>
          </p:cNvPr>
          <p:cNvSpPr/>
          <p:nvPr/>
        </p:nvSpPr>
        <p:spPr>
          <a:xfrm>
            <a:off x="3873041" y="598114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86" name="図 185">
            <a:extLst>
              <a:ext uri="{FF2B5EF4-FFF2-40B4-BE49-F238E27FC236}">
                <a16:creationId xmlns:a16="http://schemas.microsoft.com/office/drawing/2014/main" id="{8879814E-E132-93C4-8C2A-38E20A75D9F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471467" y="5734327"/>
            <a:ext cx="387178" cy="358499"/>
          </a:xfrm>
          <a:prstGeom prst="rect">
            <a:avLst/>
          </a:prstGeom>
        </p:spPr>
      </p:pic>
      <p:sp>
        <p:nvSpPr>
          <p:cNvPr id="187" name="テキスト ボックス 186">
            <a:extLst>
              <a:ext uri="{FF2B5EF4-FFF2-40B4-BE49-F238E27FC236}">
                <a16:creationId xmlns:a16="http://schemas.microsoft.com/office/drawing/2014/main" id="{0186E694-13EC-4F47-0F9D-C73F5ABB0839}"/>
              </a:ext>
            </a:extLst>
          </p:cNvPr>
          <p:cNvSpPr txBox="1"/>
          <p:nvPr/>
        </p:nvSpPr>
        <p:spPr>
          <a:xfrm>
            <a:off x="1279835" y="5685104"/>
            <a:ext cx="12650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タスク管理</a:t>
            </a:r>
          </a:p>
        </p:txBody>
      </p:sp>
      <p:cxnSp>
        <p:nvCxnSpPr>
          <p:cNvPr id="16" name="直線コネクタ 37">
            <a:extLst>
              <a:ext uri="{FF2B5EF4-FFF2-40B4-BE49-F238E27FC236}">
                <a16:creationId xmlns:a16="http://schemas.microsoft.com/office/drawing/2014/main" id="{E027E1AD-201D-9EAC-89E6-65463B802DEB}"/>
              </a:ext>
            </a:extLst>
          </p:cNvPr>
          <p:cNvCxnSpPr>
            <a:cxnSpLocks/>
            <a:endCxn id="182" idx="1"/>
          </p:cNvCxnSpPr>
          <p:nvPr/>
        </p:nvCxnSpPr>
        <p:spPr>
          <a:xfrm>
            <a:off x="2873829" y="5892800"/>
            <a:ext cx="999212" cy="21897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40962734-6445-B6A1-C71C-34599D1A4874}"/>
              </a:ext>
            </a:extLst>
          </p:cNvPr>
          <p:cNvSpPr/>
          <p:nvPr/>
        </p:nvSpPr>
        <p:spPr>
          <a:xfrm>
            <a:off x="5507483" y="2916238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字幕 14">
            <a:extLst>
              <a:ext uri="{FF2B5EF4-FFF2-40B4-BE49-F238E27FC236}">
                <a16:creationId xmlns:a16="http://schemas.microsoft.com/office/drawing/2014/main" id="{684B8239-C2D9-10F6-F6B2-D401D125B15C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cxnSp>
        <p:nvCxnSpPr>
          <p:cNvPr id="30" name="直線コネクタ 37">
            <a:extLst>
              <a:ext uri="{FF2B5EF4-FFF2-40B4-BE49-F238E27FC236}">
                <a16:creationId xmlns:a16="http://schemas.microsoft.com/office/drawing/2014/main" id="{D261A83B-6107-1461-3B31-DE6F17927F13}"/>
              </a:ext>
            </a:extLst>
          </p:cNvPr>
          <p:cNvCxnSpPr>
            <a:cxnSpLocks/>
            <a:stCxn id="50" idx="1"/>
            <a:endCxn id="53" idx="0"/>
          </p:cNvCxnSpPr>
          <p:nvPr/>
        </p:nvCxnSpPr>
        <p:spPr>
          <a:xfrm rot="10800000" flipV="1">
            <a:off x="4551918" y="5198827"/>
            <a:ext cx="1201831" cy="687564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864F7FD6-40D7-896D-AD00-8B50376B5F77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6CB34B3-13B7-6280-BDBD-E8E328557F19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4934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図 69">
            <a:extLst>
              <a:ext uri="{FF2B5EF4-FFF2-40B4-BE49-F238E27FC236}">
                <a16:creationId xmlns:a16="http://schemas.microsoft.com/office/drawing/2014/main" id="{B61FFD6F-CA4A-E22C-109E-367E7F773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8965" y="1743723"/>
            <a:ext cx="4829930" cy="482993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13111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A701D245-535A-B82D-2087-059A4127EA8F}"/>
              </a:ext>
            </a:extLst>
          </p:cNvPr>
          <p:cNvSpPr txBox="1"/>
          <p:nvPr/>
        </p:nvSpPr>
        <p:spPr>
          <a:xfrm>
            <a:off x="3455784" y="146438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カメラ</a:t>
            </a:r>
          </a:p>
        </p:txBody>
      </p:sp>
      <p:sp>
        <p:nvSpPr>
          <p:cNvPr id="135" name="テキスト ボックス 134">
            <a:extLst>
              <a:ext uri="{FF2B5EF4-FFF2-40B4-BE49-F238E27FC236}">
                <a16:creationId xmlns:a16="http://schemas.microsoft.com/office/drawing/2014/main" id="{36E21639-7B9D-8138-8EDF-3D5BFC028DDA}"/>
              </a:ext>
            </a:extLst>
          </p:cNvPr>
          <p:cNvSpPr txBox="1"/>
          <p:nvPr/>
        </p:nvSpPr>
        <p:spPr>
          <a:xfrm>
            <a:off x="1679024" y="244689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ラッシュ</a:t>
            </a:r>
          </a:p>
        </p:txBody>
      </p:sp>
      <p:sp>
        <p:nvSpPr>
          <p:cNvPr id="138" name="テキスト ボックス 137">
            <a:extLst>
              <a:ext uri="{FF2B5EF4-FFF2-40B4-BE49-F238E27FC236}">
                <a16:creationId xmlns:a16="http://schemas.microsoft.com/office/drawing/2014/main" id="{3CA2BFF3-7E9C-40EA-5B43-5ABFFB646E54}"/>
              </a:ext>
            </a:extLst>
          </p:cNvPr>
          <p:cNvSpPr txBox="1"/>
          <p:nvPr/>
        </p:nvSpPr>
        <p:spPr>
          <a:xfrm>
            <a:off x="4816679" y="6495472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143" name="直線コネクタ 142">
            <a:extLst>
              <a:ext uri="{FF2B5EF4-FFF2-40B4-BE49-F238E27FC236}">
                <a16:creationId xmlns:a16="http://schemas.microsoft.com/office/drawing/2014/main" id="{57BD36CE-5BD3-0432-9A60-8BF8770695DB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5270427" y="6391233"/>
            <a:ext cx="0" cy="161967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図 43">
            <a:extLst>
              <a:ext uri="{FF2B5EF4-FFF2-40B4-BE49-F238E27FC236}">
                <a16:creationId xmlns:a16="http://schemas.microsoft.com/office/drawing/2014/main" id="{68A2323B-14D7-B5FF-7D85-634F01E4E9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78" y="1434318"/>
            <a:ext cx="445369" cy="429464"/>
          </a:xfrm>
          <a:prstGeom prst="rect">
            <a:avLst/>
          </a:prstGeom>
        </p:spPr>
      </p:pic>
      <p:cxnSp>
        <p:nvCxnSpPr>
          <p:cNvPr id="57" name="直線コネクタ 56">
            <a:extLst>
              <a:ext uri="{FF2B5EF4-FFF2-40B4-BE49-F238E27FC236}">
                <a16:creationId xmlns:a16="http://schemas.microsoft.com/office/drawing/2014/main" id="{7CB61491-1D8C-EDEA-A128-6C3F45A1D803}"/>
              </a:ext>
            </a:extLst>
          </p:cNvPr>
          <p:cNvCxnSpPr>
            <a:cxnSpLocks/>
          </p:cNvCxnSpPr>
          <p:nvPr/>
        </p:nvCxnSpPr>
        <p:spPr>
          <a:xfrm flipH="1">
            <a:off x="3312244" y="2647434"/>
            <a:ext cx="726356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図 129">
            <a:extLst>
              <a:ext uri="{FF2B5EF4-FFF2-40B4-BE49-F238E27FC236}">
                <a16:creationId xmlns:a16="http://schemas.microsoft.com/office/drawing/2014/main" id="{99B966DE-52C0-EA4D-6C3F-87046B5F95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0559" y="2488584"/>
            <a:ext cx="238966" cy="351422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4684065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2" name="図 171">
            <a:extLst>
              <a:ext uri="{FF2B5EF4-FFF2-40B4-BE49-F238E27FC236}">
                <a16:creationId xmlns:a16="http://schemas.microsoft.com/office/drawing/2014/main" id="{1C4204AD-4375-4FCD-9E94-CF42285ABA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3491" y="6550030"/>
            <a:ext cx="357244" cy="30797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1CF8DA87-9239-8D4F-D738-38F6A1167175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CA26AB08-1E86-53F0-D3D1-314F3D74A238}"/>
              </a:ext>
            </a:extLst>
          </p:cNvPr>
          <p:cNvSpPr/>
          <p:nvPr/>
        </p:nvSpPr>
        <p:spPr>
          <a:xfrm>
            <a:off x="3969110" y="2213400"/>
            <a:ext cx="291617" cy="310725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楕円 21">
            <a:extLst>
              <a:ext uri="{FF2B5EF4-FFF2-40B4-BE49-F238E27FC236}">
                <a16:creationId xmlns:a16="http://schemas.microsoft.com/office/drawing/2014/main" id="{91A7963B-A295-D59D-0B18-D945FDC8DAA2}"/>
              </a:ext>
            </a:extLst>
          </p:cNvPr>
          <p:cNvSpPr/>
          <p:nvPr/>
        </p:nvSpPr>
        <p:spPr>
          <a:xfrm>
            <a:off x="4038961" y="2553125"/>
            <a:ext cx="171090" cy="182301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9882D8F6-F2B4-3B0F-04E9-DD78D8FBB8D1}"/>
              </a:ext>
            </a:extLst>
          </p:cNvPr>
          <p:cNvCxnSpPr>
            <a:cxnSpLocks/>
          </p:cNvCxnSpPr>
          <p:nvPr/>
        </p:nvCxnSpPr>
        <p:spPr>
          <a:xfrm flipV="1">
            <a:off x="4124444" y="1809750"/>
            <a:ext cx="0" cy="40365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B271E79F-F788-A84A-327A-B818393D3565}"/>
              </a:ext>
            </a:extLst>
          </p:cNvPr>
          <p:cNvSpPr>
            <a:spLocks/>
          </p:cNvSpPr>
          <p:nvPr/>
        </p:nvSpPr>
        <p:spPr>
          <a:xfrm>
            <a:off x="500980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91A3C0CC-0A72-3A77-7D94-A34B0AA966F3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側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CEC77B-3431-F9A3-C7F1-4F5D579393F7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09309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75CC670-7222-2725-4585-B646D7B8799F}"/>
              </a:ext>
            </a:extLst>
          </p:cNvPr>
          <p:cNvGrpSpPr/>
          <p:nvPr/>
        </p:nvGrpSpPr>
        <p:grpSpPr>
          <a:xfrm>
            <a:off x="3401987" y="2043781"/>
            <a:ext cx="3589758" cy="4846988"/>
            <a:chOff x="746940" y="2435635"/>
            <a:chExt cx="2843770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5F7CC66-93B5-B63D-34ED-EC93014665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8"/>
            <a:stretch/>
          </p:blipFill>
          <p:spPr>
            <a:xfrm>
              <a:off x="746940" y="2435635"/>
              <a:ext cx="2843770" cy="3839735"/>
            </a:xfrm>
            <a:prstGeom prst="rect">
              <a:avLst/>
            </a:prstGeom>
          </p:spPr>
        </p:pic>
        <p:pic>
          <p:nvPicPr>
            <p:cNvPr id="5" name="図 4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595BB86-B513-5B76-6D98-6F6D0A770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686" y="2711379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380102" y="1206178"/>
            <a:ext cx="8383796" cy="914722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最初の画面に戻ったり、操作を別のアプリなどへ切り替えたい場合には</a:t>
            </a:r>
            <a:endParaRPr lang="en-US" altLang="ja-JP" sz="1800" b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押し、ホーム画面に戻りましょう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083"/>
            <a:ext cx="3839272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C581C1E-8BD5-BB3E-F427-19BD22F91FDB}"/>
              </a:ext>
            </a:extLst>
          </p:cNvPr>
          <p:cNvSpPr txBox="1"/>
          <p:nvPr/>
        </p:nvSpPr>
        <p:spPr>
          <a:xfrm>
            <a:off x="5955814" y="61828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FA81E42A-3B29-B04A-B1A5-CF60891241CE}"/>
              </a:ext>
            </a:extLst>
          </p:cNvPr>
          <p:cNvCxnSpPr>
            <a:cxnSpLocks/>
          </p:cNvCxnSpPr>
          <p:nvPr/>
        </p:nvCxnSpPr>
        <p:spPr>
          <a:xfrm flipV="1">
            <a:off x="4765800" y="6395128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90C79A6-70ED-884B-2828-320314593EB8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9CE769D9-8857-DAF3-C58B-9E9E6884D345}"/>
              </a:ext>
            </a:extLst>
          </p:cNvPr>
          <p:cNvSpPr/>
          <p:nvPr/>
        </p:nvSpPr>
        <p:spPr>
          <a:xfrm>
            <a:off x="4403023" y="62809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4161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54A44CA2-D883-E377-422F-E3FB4571926E}"/>
              </a:ext>
            </a:extLst>
          </p:cNvPr>
          <p:cNvGrpSpPr/>
          <p:nvPr/>
        </p:nvGrpSpPr>
        <p:grpSpPr>
          <a:xfrm>
            <a:off x="4370177" y="2034954"/>
            <a:ext cx="4014025" cy="4979160"/>
            <a:chOff x="5543998" y="2450757"/>
            <a:chExt cx="3095460" cy="3839735"/>
          </a:xfrm>
        </p:grpSpPr>
        <p:pic>
          <p:nvPicPr>
            <p:cNvPr id="1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CFE3E4C-C62F-DD94-535B-0171D35BB3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9383"/>
            <a:stretch/>
          </p:blipFill>
          <p:spPr>
            <a:xfrm>
              <a:off x="5543998" y="2450757"/>
              <a:ext cx="3095460" cy="3839735"/>
            </a:xfrm>
            <a:prstGeom prst="rect">
              <a:avLst/>
            </a:prstGeom>
          </p:spPr>
        </p:pic>
        <p:pic>
          <p:nvPicPr>
            <p:cNvPr id="18" name="図 1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62D5933E-412B-97CA-57BA-89678D6F3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8708" y="2726501"/>
              <a:ext cx="1526322" cy="3307031"/>
            </a:xfrm>
            <a:prstGeom prst="rect">
              <a:avLst/>
            </a:prstGeom>
          </p:spPr>
        </p:pic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F9E9D8D-9B60-1EF7-162C-24AA9D08E155}"/>
              </a:ext>
            </a:extLst>
          </p:cNvPr>
          <p:cNvGrpSpPr/>
          <p:nvPr/>
        </p:nvGrpSpPr>
        <p:grpSpPr>
          <a:xfrm>
            <a:off x="-183277" y="2078986"/>
            <a:ext cx="4910906" cy="4910906"/>
            <a:chOff x="2651882" y="2418983"/>
            <a:chExt cx="3839735" cy="3839735"/>
          </a:xfrm>
        </p:grpSpPr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B2A25B1E-D4D1-A5E2-2792-FB50D63C1FE7}"/>
                </a:ext>
              </a:extLst>
            </p:cNvPr>
            <p:cNvGrpSpPr/>
            <p:nvPr/>
          </p:nvGrpSpPr>
          <p:grpSpPr>
            <a:xfrm>
              <a:off x="2651882" y="2418983"/>
              <a:ext cx="3839735" cy="3839735"/>
              <a:chOff x="5434675" y="2345652"/>
              <a:chExt cx="3839735" cy="3839735"/>
            </a:xfrm>
          </p:grpSpPr>
          <p:pic>
            <p:nvPicPr>
              <p:cNvPr id="1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DD503111-29B5-D436-93BD-889B28BC6F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3467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15" name="図 1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BAE3D528-CC06-88F5-11D7-874CECF3B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A395A81D-AA75-A5D0-1AB2-E608B348EA09}"/>
                </a:ext>
              </a:extLst>
            </p:cNvPr>
            <p:cNvGrpSpPr/>
            <p:nvPr/>
          </p:nvGrpSpPr>
          <p:grpSpPr>
            <a:xfrm>
              <a:off x="3807672" y="2693508"/>
              <a:ext cx="1524023" cy="3307030"/>
              <a:chOff x="6772420" y="2582363"/>
              <a:chExt cx="1714026" cy="3713710"/>
            </a:xfrm>
          </p:grpSpPr>
          <p:pic>
            <p:nvPicPr>
              <p:cNvPr id="7" name="図 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238AA28-49B8-78CB-EC64-AC2FDECF61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2426" y="2582363"/>
                <a:ext cx="1714020" cy="3713710"/>
              </a:xfrm>
              <a:prstGeom prst="rect">
                <a:avLst/>
              </a:prstGeom>
            </p:spPr>
          </p:pic>
          <p:pic>
            <p:nvPicPr>
              <p:cNvPr id="10" name="Picture 4">
                <a:extLst>
                  <a:ext uri="{FF2B5EF4-FFF2-40B4-BE49-F238E27FC236}">
                    <a16:creationId xmlns:a16="http://schemas.microsoft.com/office/drawing/2014/main" id="{51A75315-C098-7F2C-C393-31BF11F0C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12" b="6860"/>
              <a:stretch/>
            </p:blipFill>
            <p:spPr bwMode="auto">
              <a:xfrm>
                <a:off x="6772424" y="2713025"/>
                <a:ext cx="1714019" cy="31856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正方形/長方形 12">
                <a:extLst>
                  <a:ext uri="{FF2B5EF4-FFF2-40B4-BE49-F238E27FC236}">
                    <a16:creationId xmlns:a16="http://schemas.microsoft.com/office/drawing/2014/main" id="{2BC36892-4AD7-CB64-E0D6-2B0BEB671A68}"/>
                  </a:ext>
                </a:extLst>
              </p:cNvPr>
              <p:cNvSpPr/>
              <p:nvPr/>
            </p:nvSpPr>
            <p:spPr>
              <a:xfrm>
                <a:off x="6772420" y="5890694"/>
                <a:ext cx="1714019" cy="216000"/>
              </a:xfrm>
              <a:prstGeom prst="rect">
                <a:avLst/>
              </a:prstGeom>
              <a:solidFill>
                <a:srgbClr val="44535A"/>
              </a:solidFill>
              <a:ln w="1905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633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6" name="四角形: 角を丸くする 5">
              <a:extLst>
                <a:ext uri="{FF2B5EF4-FFF2-40B4-BE49-F238E27FC236}">
                  <a16:creationId xmlns:a16="http://schemas.microsoft.com/office/drawing/2014/main" id="{A4B6CBE9-3DA2-C97C-3EAD-F9F6572899DD}"/>
                </a:ext>
              </a:extLst>
            </p:cNvPr>
            <p:cNvSpPr/>
            <p:nvPr/>
          </p:nvSpPr>
          <p:spPr>
            <a:xfrm>
              <a:off x="4433415" y="5783814"/>
              <a:ext cx="287804" cy="226433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920750" y="1006379"/>
            <a:ext cx="60287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404915" y="1070871"/>
            <a:ext cx="2659137" cy="111580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が終了したら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ホームボタン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343909" y="1018467"/>
            <a:ext cx="570042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832014" y="1070871"/>
            <a:ext cx="238440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DBB9C57-D460-6830-8EB3-7A9623AA87B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49397DB-B30E-7D28-6F44-DC2354C856B9}"/>
              </a:ext>
            </a:extLst>
          </p:cNvPr>
          <p:cNvSpPr txBox="1"/>
          <p:nvPr/>
        </p:nvSpPr>
        <p:spPr>
          <a:xfrm>
            <a:off x="3642923" y="6278429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A5DF8FE-2DFE-A29E-1C24-0460244C9CE8}"/>
              </a:ext>
            </a:extLst>
          </p:cNvPr>
          <p:cNvCxnSpPr>
            <a:cxnSpLocks/>
          </p:cNvCxnSpPr>
          <p:nvPr/>
        </p:nvCxnSpPr>
        <p:spPr>
          <a:xfrm flipV="1">
            <a:off x="2452909" y="6490749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7443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D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表示の見方</a:t>
            </a:r>
          </a:p>
        </p:txBody>
      </p:sp>
      <p:pic>
        <p:nvPicPr>
          <p:cNvPr id="2" name="図 25">
            <a:extLst>
              <a:ext uri="{FF2B5EF4-FFF2-40B4-BE49-F238E27FC236}">
                <a16:creationId xmlns:a16="http://schemas.microsoft.com/office/drawing/2014/main" id="{CB46AD68-DF6E-383B-9D33-6745A171F6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4610" y="5472728"/>
            <a:ext cx="901390" cy="360323"/>
          </a:xfrm>
          <a:prstGeom prst="rect">
            <a:avLst/>
          </a:prstGeom>
        </p:spPr>
      </p:pic>
      <p:pic>
        <p:nvPicPr>
          <p:cNvPr id="5" name="図 23">
            <a:extLst>
              <a:ext uri="{FF2B5EF4-FFF2-40B4-BE49-F238E27FC236}">
                <a16:creationId xmlns:a16="http://schemas.microsoft.com/office/drawing/2014/main" id="{1123E128-A464-28EA-9B84-186419377B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674" y="4449640"/>
            <a:ext cx="452554" cy="443262"/>
          </a:xfrm>
          <a:prstGeom prst="rect">
            <a:avLst/>
          </a:prstGeom>
        </p:spPr>
      </p:pic>
      <p:pic>
        <p:nvPicPr>
          <p:cNvPr id="6" name="図 21">
            <a:extLst>
              <a:ext uri="{FF2B5EF4-FFF2-40B4-BE49-F238E27FC236}">
                <a16:creationId xmlns:a16="http://schemas.microsoft.com/office/drawing/2014/main" id="{1CC8727D-D834-C43F-5144-27C59A4A34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5090" y="3436080"/>
            <a:ext cx="499016" cy="433735"/>
          </a:xfrm>
          <a:prstGeom prst="rect">
            <a:avLst/>
          </a:prstGeom>
        </p:spPr>
      </p:pic>
      <p:pic>
        <p:nvPicPr>
          <p:cNvPr id="7" name="図 12">
            <a:extLst>
              <a:ext uri="{FF2B5EF4-FFF2-40B4-BE49-F238E27FC236}">
                <a16:creationId xmlns:a16="http://schemas.microsoft.com/office/drawing/2014/main" id="{EA014C7B-E9ED-0B14-D861-B7685A2612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6514" y="2422520"/>
            <a:ext cx="556167" cy="433735"/>
          </a:xfrm>
          <a:prstGeom prst="rect">
            <a:avLst/>
          </a:prstGeom>
        </p:spPr>
      </p:pic>
      <p:pic>
        <p:nvPicPr>
          <p:cNvPr id="8" name="図 10" descr="グラフィカル ユーザー インターフェイス, テキスト, アプリケーション&#10;&#10;説明は自動で生成されたものです">
            <a:extLst>
              <a:ext uri="{FF2B5EF4-FFF2-40B4-BE49-F238E27FC236}">
                <a16:creationId xmlns:a16="http://schemas.microsoft.com/office/drawing/2014/main" id="{6F91A7C6-8E4C-90E9-A6A0-30D17034FE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741" y="2396925"/>
            <a:ext cx="4415882" cy="343504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8BF2E0FB-5D06-ADCA-D95C-A9B39FAD0953}"/>
              </a:ext>
            </a:extLst>
          </p:cNvPr>
          <p:cNvSpPr txBox="1">
            <a:spLocks/>
          </p:cNvSpPr>
          <p:nvPr/>
        </p:nvSpPr>
        <p:spPr>
          <a:xfrm>
            <a:off x="507350" y="1131995"/>
            <a:ext cx="8636649" cy="88533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最上部に、各種の情報や通知が来ている事を伝えてくれる表示が出てい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D2FCAAF6-F35C-C61D-85FE-C7286B9CEE2C}"/>
              </a:ext>
            </a:extLst>
          </p:cNvPr>
          <p:cNvSpPr txBox="1"/>
          <p:nvPr/>
        </p:nvSpPr>
        <p:spPr>
          <a:xfrm>
            <a:off x="44779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通知</a:t>
            </a:r>
          </a:p>
        </p:txBody>
      </p:sp>
      <p:sp>
        <p:nvSpPr>
          <p:cNvPr id="11" name="四角形: 角を丸くする 7">
            <a:extLst>
              <a:ext uri="{FF2B5EF4-FFF2-40B4-BE49-F238E27FC236}">
                <a16:creationId xmlns:a16="http://schemas.microsoft.com/office/drawing/2014/main" id="{C1B4974B-67BA-BF88-E66E-E1BEC6EBB7D5}"/>
              </a:ext>
            </a:extLst>
          </p:cNvPr>
          <p:cNvSpPr/>
          <p:nvPr/>
        </p:nvSpPr>
        <p:spPr>
          <a:xfrm>
            <a:off x="480689" y="2319564"/>
            <a:ext cx="1119512" cy="52387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2824831-BBE4-6BBF-C62A-0FC42EBBCDCD}"/>
              </a:ext>
            </a:extLst>
          </p:cNvPr>
          <p:cNvSpPr txBox="1"/>
          <p:nvPr/>
        </p:nvSpPr>
        <p:spPr>
          <a:xfrm>
            <a:off x="6156651" y="2223683"/>
            <a:ext cx="2610010" cy="1115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いメールを受信した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知らせのマーク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7">
            <a:extLst>
              <a:ext uri="{FF2B5EF4-FFF2-40B4-BE49-F238E27FC236}">
                <a16:creationId xmlns:a16="http://schemas.microsoft.com/office/drawing/2014/main" id="{2E13C1AF-11AB-90AF-6585-2B1AAC7C064F}"/>
              </a:ext>
            </a:extLst>
          </p:cNvPr>
          <p:cNvSpPr/>
          <p:nvPr/>
        </p:nvSpPr>
        <p:spPr>
          <a:xfrm>
            <a:off x="2900895" y="2310039"/>
            <a:ext cx="2299755" cy="53340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7EB4293-FBFB-E480-3FF3-1E2365B1E259}"/>
              </a:ext>
            </a:extLst>
          </p:cNvPr>
          <p:cNvSpPr txBox="1"/>
          <p:nvPr/>
        </p:nvSpPr>
        <p:spPr>
          <a:xfrm>
            <a:off x="354584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情報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F4E5AEC-AAF8-9BBD-315F-730891D7062B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8114AD3-3F2F-8462-7114-C7C370BCF1D3}"/>
              </a:ext>
            </a:extLst>
          </p:cNvPr>
          <p:cNvSpPr txBox="1"/>
          <p:nvPr/>
        </p:nvSpPr>
        <p:spPr>
          <a:xfrm>
            <a:off x="6156651" y="3444698"/>
            <a:ext cx="1975221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i-Fi</a:t>
            </a: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接続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052B088-A324-B2E2-B9AF-2F26CE20718C}"/>
              </a:ext>
            </a:extLst>
          </p:cNvPr>
          <p:cNvSpPr txBox="1"/>
          <p:nvPr/>
        </p:nvSpPr>
        <p:spPr>
          <a:xfrm>
            <a:off x="6156651" y="4430205"/>
            <a:ext cx="1800493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信電波の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DB60469-E26D-F6DF-3594-EE9650AF5E9E}"/>
              </a:ext>
            </a:extLst>
          </p:cNvPr>
          <p:cNvSpPr txBox="1"/>
          <p:nvPr/>
        </p:nvSpPr>
        <p:spPr>
          <a:xfrm>
            <a:off x="6156651" y="5433505"/>
            <a:ext cx="2395207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バッテリー残量の表示</a:t>
            </a:r>
          </a:p>
        </p:txBody>
      </p:sp>
    </p:spTree>
    <p:extLst>
      <p:ext uri="{BB962C8B-B14F-4D97-AF65-F5344CB8AC3E}">
        <p14:creationId xmlns:p14="http://schemas.microsoft.com/office/powerpoint/2010/main" val="1273880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6A91A53A-B207-FD62-EB83-6A9432487023}"/>
              </a:ext>
            </a:extLst>
          </p:cNvPr>
          <p:cNvGrpSpPr/>
          <p:nvPr/>
        </p:nvGrpSpPr>
        <p:grpSpPr>
          <a:xfrm>
            <a:off x="4164376" y="2088352"/>
            <a:ext cx="4922474" cy="4922474"/>
            <a:chOff x="490652" y="2442118"/>
            <a:chExt cx="3839735" cy="3839735"/>
          </a:xfrm>
        </p:grpSpPr>
        <p:pic>
          <p:nvPicPr>
            <p:cNvPr id="97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0BE70C8D-8682-7A46-A25C-BF0813E8D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98" name="図 11">
              <a:extLst>
                <a:ext uri="{FF2B5EF4-FFF2-40B4-BE49-F238E27FC236}">
                  <a16:creationId xmlns:a16="http://schemas.microsoft.com/office/drawing/2014/main" id="{30778E90-4ED4-FD2E-81C2-1B75DA24A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8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AF8D2DAE-072A-55C1-F7D7-11CD665B8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1788" y="2468291"/>
            <a:ext cx="1980030" cy="416718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E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クイック設定パネルの表示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2D8DDC17-33A1-F70D-C73D-350BA2A74A66}"/>
              </a:ext>
            </a:extLst>
          </p:cNvPr>
          <p:cNvSpPr txBox="1">
            <a:spLocks/>
          </p:cNvSpPr>
          <p:nvPr/>
        </p:nvSpPr>
        <p:spPr>
          <a:xfrm>
            <a:off x="431169" y="995927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C8A2D61-C6D6-8919-ED60-C3985638A5F3}"/>
              </a:ext>
            </a:extLst>
          </p:cNvPr>
          <p:cNvSpPr txBox="1"/>
          <p:nvPr/>
        </p:nvSpPr>
        <p:spPr>
          <a:xfrm>
            <a:off x="942612" y="1390270"/>
            <a:ext cx="5546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1A99D2B-EA57-D022-FE7C-5CD570F4A53E}"/>
              </a:ext>
            </a:extLst>
          </p:cNvPr>
          <p:cNvSpPr txBox="1"/>
          <p:nvPr/>
        </p:nvSpPr>
        <p:spPr>
          <a:xfrm>
            <a:off x="4368033" y="1382184"/>
            <a:ext cx="6248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75BF6BA2-3575-1D92-0B8A-930B55D4ADB5}"/>
              </a:ext>
            </a:extLst>
          </p:cNvPr>
          <p:cNvSpPr txBox="1"/>
          <p:nvPr/>
        </p:nvSpPr>
        <p:spPr>
          <a:xfrm>
            <a:off x="1513490" y="1390270"/>
            <a:ext cx="258825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一番上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89099CF8-FB08-6583-103D-4CF1E78417A4}"/>
              </a:ext>
            </a:extLst>
          </p:cNvPr>
          <p:cNvSpPr txBox="1"/>
          <p:nvPr/>
        </p:nvSpPr>
        <p:spPr>
          <a:xfrm>
            <a:off x="4897540" y="1382184"/>
            <a:ext cx="393455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イック設定パネルが表示され各種の設定をすぐに調整できます（赤枠内）</a:t>
            </a:r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AE114E67-0CA3-DD97-21C5-8E91F0F4C86C}"/>
              </a:ext>
            </a:extLst>
          </p:cNvPr>
          <p:cNvGrpSpPr/>
          <p:nvPr/>
        </p:nvGrpSpPr>
        <p:grpSpPr>
          <a:xfrm>
            <a:off x="2047598" y="2965472"/>
            <a:ext cx="982463" cy="2330937"/>
            <a:chOff x="2626534" y="1894134"/>
            <a:chExt cx="982463" cy="2330937"/>
          </a:xfrm>
        </p:grpSpPr>
        <p:sp>
          <p:nvSpPr>
            <p:cNvPr id="30" name="矢印: 右 29">
              <a:extLst>
                <a:ext uri="{FF2B5EF4-FFF2-40B4-BE49-F238E27FC236}">
                  <a16:creationId xmlns:a16="http://schemas.microsoft.com/office/drawing/2014/main" id="{09EF8E4B-8954-404F-8177-9FC8E68C768B}"/>
                </a:ext>
              </a:extLst>
            </p:cNvPr>
            <p:cNvSpPr/>
            <p:nvPr/>
          </p:nvSpPr>
          <p:spPr>
            <a:xfrm rot="5400000">
              <a:off x="1765366" y="2755302"/>
              <a:ext cx="2330937" cy="608602"/>
            </a:xfrm>
            <a:prstGeom prst="rightArrow">
              <a:avLst>
                <a:gd name="adj1" fmla="val 47262"/>
                <a:gd name="adj2" fmla="val 53297"/>
              </a:avLst>
            </a:prstGeom>
            <a:solidFill>
              <a:srgbClr val="FF000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31" name="図 30">
              <a:extLst>
                <a:ext uri="{FF2B5EF4-FFF2-40B4-BE49-F238E27FC236}">
                  <a16:creationId xmlns:a16="http://schemas.microsoft.com/office/drawing/2014/main" id="{631E996D-BD2B-D343-8BA8-E22F2004C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102346" y="3677501"/>
              <a:ext cx="473301" cy="540000"/>
            </a:xfrm>
            <a:prstGeom prst="rect">
              <a:avLst/>
            </a:prstGeom>
          </p:spPr>
        </p:pic>
      </p:grpSp>
      <p:grpSp>
        <p:nvGrpSpPr>
          <p:cNvPr id="105" name="グループ化 104">
            <a:extLst>
              <a:ext uri="{FF2B5EF4-FFF2-40B4-BE49-F238E27FC236}">
                <a16:creationId xmlns:a16="http://schemas.microsoft.com/office/drawing/2014/main" id="{5A9CA8EE-75CD-3762-1759-78E14A67ED9E}"/>
              </a:ext>
            </a:extLst>
          </p:cNvPr>
          <p:cNvGrpSpPr/>
          <p:nvPr/>
        </p:nvGrpSpPr>
        <p:grpSpPr>
          <a:xfrm>
            <a:off x="-170074" y="2096438"/>
            <a:ext cx="4922474" cy="4922474"/>
            <a:chOff x="5423455" y="2345652"/>
            <a:chExt cx="3839735" cy="3839735"/>
          </a:xfrm>
        </p:grpSpPr>
        <p:pic>
          <p:nvPicPr>
            <p:cNvPr id="10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7A030552-5449-A5C7-D685-1FD0E6284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107" name="図 10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731EC07-2D45-8036-7F5B-28DC6DE96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sp>
        <p:nvSpPr>
          <p:cNvPr id="6" name="矢印: 右 5">
            <a:extLst>
              <a:ext uri="{FF2B5EF4-FFF2-40B4-BE49-F238E27FC236}">
                <a16:creationId xmlns:a16="http://schemas.microsoft.com/office/drawing/2014/main" id="{127A2AEA-441A-18AF-00FF-721D5E951096}"/>
              </a:ext>
            </a:extLst>
          </p:cNvPr>
          <p:cNvSpPr/>
          <p:nvPr/>
        </p:nvSpPr>
        <p:spPr>
          <a:xfrm rot="5400000">
            <a:off x="792776" y="3832350"/>
            <a:ext cx="2988221" cy="780217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222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四角形: 角を丸くする 7">
            <a:extLst>
              <a:ext uri="{FF2B5EF4-FFF2-40B4-BE49-F238E27FC236}">
                <a16:creationId xmlns:a16="http://schemas.microsoft.com/office/drawing/2014/main" id="{7F69F5FD-22FB-B602-8697-00AE84817B4B}"/>
              </a:ext>
            </a:extLst>
          </p:cNvPr>
          <p:cNvSpPr/>
          <p:nvPr/>
        </p:nvSpPr>
        <p:spPr>
          <a:xfrm>
            <a:off x="5647393" y="2736006"/>
            <a:ext cx="1948186" cy="799673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8E0D89C-1B04-0E2B-1A45-EC27DCB54B96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1078FEEB-A8FB-B176-6426-ABD9F041A929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7D7382-1EFA-0779-7B63-263B6EC6F6FC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226834F8-7159-3EA7-339B-669BB46C95D7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C1937089-151E-F3B1-EAA2-6C5D1A5ED2B2}"/>
              </a:ext>
            </a:extLst>
          </p:cNvPr>
          <p:cNvSpPr txBox="1"/>
          <p:nvPr/>
        </p:nvSpPr>
        <p:spPr>
          <a:xfrm>
            <a:off x="76688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6" name="直線コネクタ 22">
            <a:extLst>
              <a:ext uri="{FF2B5EF4-FFF2-40B4-BE49-F238E27FC236}">
                <a16:creationId xmlns:a16="http://schemas.microsoft.com/office/drawing/2014/main" id="{65B381F8-C9A3-155D-1875-C2868A5D6D0F}"/>
              </a:ext>
            </a:extLst>
          </p:cNvPr>
          <p:cNvCxnSpPr>
            <a:cxnSpLocks/>
            <a:stCxn id="27" idx="3"/>
            <a:endCxn id="25" idx="2"/>
          </p:cNvCxnSpPr>
          <p:nvPr/>
        </p:nvCxnSpPr>
        <p:spPr>
          <a:xfrm flipV="1">
            <a:off x="6823073" y="6349819"/>
            <a:ext cx="15896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A74C8F99-5F93-4C2C-0AE7-BA2965E3F35F}"/>
              </a:ext>
            </a:extLst>
          </p:cNvPr>
          <p:cNvSpPr/>
          <p:nvPr/>
        </p:nvSpPr>
        <p:spPr>
          <a:xfrm>
            <a:off x="64549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5897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FB4C438-5065-0C12-33C1-C20082DAAC95}"/>
              </a:ext>
            </a:extLst>
          </p:cNvPr>
          <p:cNvGrpSpPr/>
          <p:nvPr/>
        </p:nvGrpSpPr>
        <p:grpSpPr>
          <a:xfrm>
            <a:off x="4327941" y="2327713"/>
            <a:ext cx="4690368" cy="4690368"/>
            <a:chOff x="2652130" y="2424461"/>
            <a:chExt cx="3839735" cy="3839735"/>
          </a:xfrm>
        </p:grpSpPr>
        <p:pic>
          <p:nvPicPr>
            <p:cNvPr id="9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CD58382-F177-CBF9-3575-670FB2294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00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96DFD374-2FD2-1850-B993-45ABECC0E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102" name="図 15">
              <a:extLst>
                <a:ext uri="{FF2B5EF4-FFF2-40B4-BE49-F238E27FC236}">
                  <a16:creationId xmlns:a16="http://schemas.microsoft.com/office/drawing/2014/main" id="{F0EE760B-C54C-1CE0-0578-E0D8C519C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pic>
        <p:nvPicPr>
          <p:cNvPr id="3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20C44E9B-33B2-FDA4-36BC-0B5B144197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484" b="3404"/>
          <a:stretch/>
        </p:blipFill>
        <p:spPr>
          <a:xfrm>
            <a:off x="812800" y="2345550"/>
            <a:ext cx="4041530" cy="4512450"/>
          </a:xfrm>
          <a:prstGeom prst="rect">
            <a:avLst/>
          </a:prstGeom>
        </p:spPr>
      </p:pic>
      <p:pic>
        <p:nvPicPr>
          <p:cNvPr id="31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D7B9746A-63CF-9B60-BA3C-ACEEDF5EAB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6013" y="2686977"/>
            <a:ext cx="1879057" cy="3954679"/>
          </a:xfrm>
          <a:prstGeom prst="rect">
            <a:avLst/>
          </a:prstGeom>
        </p:spPr>
      </p:pic>
      <p:sp>
        <p:nvSpPr>
          <p:cNvPr id="5" name="矢印: 右 4">
            <a:extLst>
              <a:ext uri="{FF2B5EF4-FFF2-40B4-BE49-F238E27FC236}">
                <a16:creationId xmlns:a16="http://schemas.microsoft.com/office/drawing/2014/main" id="{12C7A267-26B1-B17A-F2DA-5CB050B4F0D2}"/>
              </a:ext>
            </a:extLst>
          </p:cNvPr>
          <p:cNvSpPr/>
          <p:nvPr/>
        </p:nvSpPr>
        <p:spPr>
          <a:xfrm rot="5400000">
            <a:off x="1465194" y="4656843"/>
            <a:ext cx="2101395" cy="740429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2CC00CD-0AEE-FC4E-C710-4555C45DF109}"/>
              </a:ext>
            </a:extLst>
          </p:cNvPr>
          <p:cNvSpPr txBox="1"/>
          <p:nvPr/>
        </p:nvSpPr>
        <p:spPr>
          <a:xfrm>
            <a:off x="1473636" y="1422220"/>
            <a:ext cx="2530500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4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②まで進んだ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う一度画面上部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EF305DF-6567-C7FE-2584-1CF943CD26E5}"/>
              </a:ext>
            </a:extLst>
          </p:cNvPr>
          <p:cNvSpPr txBox="1"/>
          <p:nvPr/>
        </p:nvSpPr>
        <p:spPr>
          <a:xfrm>
            <a:off x="920914" y="1423912"/>
            <a:ext cx="540000" cy="5847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E5816F7A-DC03-26BE-9155-403349C056E2}"/>
              </a:ext>
            </a:extLst>
          </p:cNvPr>
          <p:cNvSpPr txBox="1"/>
          <p:nvPr/>
        </p:nvSpPr>
        <p:spPr>
          <a:xfrm>
            <a:off x="4910680" y="1442444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F1919E3-8323-14F5-DE22-B53E2D38372E}"/>
              </a:ext>
            </a:extLst>
          </p:cNvPr>
          <p:cNvSpPr txBox="1"/>
          <p:nvPr/>
        </p:nvSpPr>
        <p:spPr>
          <a:xfrm>
            <a:off x="5517375" y="1419664"/>
            <a:ext cx="483361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項目名が表示され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マナーモード」を押して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切り替えます</a:t>
            </a: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09980D68-1F8C-E248-4649-39E56F92CB4F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矢印コネクタ 1">
            <a:extLst>
              <a:ext uri="{FF2B5EF4-FFF2-40B4-BE49-F238E27FC236}">
                <a16:creationId xmlns:a16="http://schemas.microsoft.com/office/drawing/2014/main" id="{859700ED-B622-478C-65B8-10E0EF521DDB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FD7049-AD24-DD51-64C0-3E0468ED6F6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A65EB4F2-6BA8-8459-2C04-5E73E62A78CA}"/>
              </a:ext>
            </a:extLst>
          </p:cNvPr>
          <p:cNvSpPr/>
          <p:nvPr/>
        </p:nvSpPr>
        <p:spPr>
          <a:xfrm>
            <a:off x="6591300" y="3930650"/>
            <a:ext cx="1016000" cy="60325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4F8D8E1F-825F-627E-37BE-BC896A95CAB5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3B88C295-E7C5-5C9D-DCCB-696804E4371F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AAC3C6F-D5FC-44F5-BDD0-759A2537AD49}"/>
              </a:ext>
            </a:extLst>
          </p:cNvPr>
          <p:cNvSpPr txBox="1"/>
          <p:nvPr/>
        </p:nvSpPr>
        <p:spPr>
          <a:xfrm>
            <a:off x="76561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50B8215A-6E65-106F-5B4A-F7BF74DB5F16}"/>
              </a:ext>
            </a:extLst>
          </p:cNvPr>
          <p:cNvCxnSpPr>
            <a:cxnSpLocks/>
            <a:stCxn id="24" idx="3"/>
            <a:endCxn id="21" idx="2"/>
          </p:cNvCxnSpPr>
          <p:nvPr/>
        </p:nvCxnSpPr>
        <p:spPr>
          <a:xfrm flipV="1">
            <a:off x="6861173" y="6349819"/>
            <a:ext cx="15388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104D0D77-3CA3-A9DD-6E8B-36A03AD973F6}"/>
              </a:ext>
            </a:extLst>
          </p:cNvPr>
          <p:cNvSpPr/>
          <p:nvPr/>
        </p:nvSpPr>
        <p:spPr>
          <a:xfrm>
            <a:off x="64930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4785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2217906" y="3090518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</a:t>
            </a:r>
            <a:r>
              <a:rPr lang="ja-JP" altLang="en-US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．ボタン操作の仕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96AFC9F-EDC7-DCF4-9C2E-581AA491A2B9}"/>
              </a:ext>
            </a:extLst>
          </p:cNvPr>
          <p:cNvSpPr txBox="1"/>
          <p:nvPr/>
        </p:nvSpPr>
        <p:spPr>
          <a:xfrm>
            <a:off x="2217906" y="66232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ja-JP" altLang="en-US" sz="2800" b="1" spc="-3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．電源の入れ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0AB875-436F-0888-5150-90666F065C2E}"/>
              </a:ext>
            </a:extLst>
          </p:cNvPr>
          <p:cNvSpPr/>
          <p:nvPr/>
        </p:nvSpPr>
        <p:spPr>
          <a:xfrm>
            <a:off x="2217905" y="1310020"/>
            <a:ext cx="6675263" cy="165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　電源を入れるに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2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　電源を切るとき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スリープモードにする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 P7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9643060-2086-F65F-C57F-4810574FD0D3}"/>
              </a:ext>
            </a:extLst>
          </p:cNvPr>
          <p:cNvSpPr/>
          <p:nvPr/>
        </p:nvSpPr>
        <p:spPr>
          <a:xfrm>
            <a:off x="2217905" y="3738215"/>
            <a:ext cx="6675257" cy="213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A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・音量ボタン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10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B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マートフォン各部の役割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1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ホーム画面に戻るには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 P13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Ｄ　表示の見方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… P1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Ｅ　クイック設定パネルの表示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6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Ｆ　マナーモードに設定する方法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 P17</a:t>
            </a:r>
            <a:endParaRPr lang="ja-JP" altLang="en-US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0740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7FC8B01-1BB0-593B-02CD-30A7AD91E3CD}"/>
              </a:ext>
            </a:extLst>
          </p:cNvPr>
          <p:cNvSpPr txBox="1"/>
          <p:nvPr/>
        </p:nvSpPr>
        <p:spPr>
          <a:xfrm>
            <a:off x="764698" y="1394150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E1B850B-AB97-AA6E-FD33-BFB0687EA078}"/>
              </a:ext>
            </a:extLst>
          </p:cNvPr>
          <p:cNvSpPr txBox="1"/>
          <p:nvPr/>
        </p:nvSpPr>
        <p:spPr>
          <a:xfrm>
            <a:off x="1304698" y="1407849"/>
            <a:ext cx="5871957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を押すたびに設定が変わり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調整後はホームボタンを押し、元の画面に戻りましょう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5951EFC0-BB86-12BC-9E42-1E865974A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9258" y="3517724"/>
            <a:ext cx="454367" cy="444631"/>
          </a:xfrm>
          <a:prstGeom prst="rect">
            <a:avLst/>
          </a:prstGeom>
        </p:spPr>
      </p:pic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1181B59-F1E1-5F10-6D47-C48214016D7C}"/>
              </a:ext>
            </a:extLst>
          </p:cNvPr>
          <p:cNvSpPr txBox="1"/>
          <p:nvPr/>
        </p:nvSpPr>
        <p:spPr>
          <a:xfrm>
            <a:off x="5287979" y="3475583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が鳴り、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9949396E-6902-AE0F-2E5B-F9BD96D3DB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9257" y="4436915"/>
            <a:ext cx="454367" cy="451455"/>
          </a:xfrm>
          <a:prstGeom prst="rect">
            <a:avLst/>
          </a:prstGeom>
        </p:spPr>
      </p:pic>
      <p:pic>
        <p:nvPicPr>
          <p:cNvPr id="29" name="図 28" descr="アイコン&#10;&#10;自動的に生成された説明">
            <a:extLst>
              <a:ext uri="{FF2B5EF4-FFF2-40B4-BE49-F238E27FC236}">
                <a16:creationId xmlns:a16="http://schemas.microsoft.com/office/drawing/2014/main" id="{275805CF-055E-93CF-4A22-71E881E2D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3317" y="5385063"/>
            <a:ext cx="460307" cy="451455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C4A9AC1-489D-5423-1AE3-41028242A0C0}"/>
              </a:ext>
            </a:extLst>
          </p:cNvPr>
          <p:cNvSpPr txBox="1"/>
          <p:nvPr/>
        </p:nvSpPr>
        <p:spPr>
          <a:xfrm>
            <a:off x="5306908" y="4380344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6C05E6F-9D71-0030-4C5F-B55B6FF7987E}"/>
              </a:ext>
            </a:extLst>
          </p:cNvPr>
          <p:cNvSpPr txBox="1"/>
          <p:nvPr/>
        </p:nvSpPr>
        <p:spPr>
          <a:xfrm>
            <a:off x="5306908" y="5294559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イレント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せん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5C56331-0B64-2F99-49FD-0F8A6923AE73}"/>
              </a:ext>
            </a:extLst>
          </p:cNvPr>
          <p:cNvGrpSpPr/>
          <p:nvPr/>
        </p:nvGrpSpPr>
        <p:grpSpPr>
          <a:xfrm>
            <a:off x="0" y="2254716"/>
            <a:ext cx="4690368" cy="4690368"/>
            <a:chOff x="2652130" y="2424461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B095A55-31A4-BFAB-1ACE-6843AA36C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8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7BAF0089-059A-00F3-9FC7-12146BBAB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24" name="図 15">
              <a:extLst>
                <a:ext uri="{FF2B5EF4-FFF2-40B4-BE49-F238E27FC236}">
                  <a16:creationId xmlns:a16="http://schemas.microsoft.com/office/drawing/2014/main" id="{925E3D17-8E89-9119-F7B6-6EBE7DB3C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DB78F2E-0A7A-3B28-0BDB-B2399768ED6D}"/>
              </a:ext>
            </a:extLst>
          </p:cNvPr>
          <p:cNvSpPr/>
          <p:nvPr/>
        </p:nvSpPr>
        <p:spPr>
          <a:xfrm>
            <a:off x="4597232" y="2761733"/>
            <a:ext cx="3590019" cy="3410857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FEFCFA9F-BF04-4588-A900-099A89DC85E7}"/>
              </a:ext>
            </a:extLst>
          </p:cNvPr>
          <p:cNvSpPr txBox="1"/>
          <p:nvPr/>
        </p:nvSpPr>
        <p:spPr>
          <a:xfrm>
            <a:off x="4600135" y="2747629"/>
            <a:ext cx="3589021" cy="395621"/>
          </a:xfrm>
          <a:prstGeom prst="rect">
            <a:avLst/>
          </a:prstGeom>
          <a:solidFill>
            <a:srgbClr val="4472C4"/>
          </a:solidFill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の種類</a:t>
            </a:r>
            <a:endParaRPr lang="en-US" altLang="ja-JP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C5D429C-D4A4-3861-75BA-33ABC5FE933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8F9685E6-78F9-EBAE-50EB-9843FEB6E9B8}"/>
              </a:ext>
            </a:extLst>
          </p:cNvPr>
          <p:cNvSpPr/>
          <p:nvPr/>
        </p:nvSpPr>
        <p:spPr>
          <a:xfrm>
            <a:off x="2260600" y="3867150"/>
            <a:ext cx="1016000" cy="603250"/>
          </a:xfrm>
          <a:prstGeom prst="roundRect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2351B894-13BB-8FF8-454C-285000B3BC4C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530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の入れ方</a:t>
            </a:r>
          </a:p>
        </p:txBody>
      </p:sp>
      <p:pic>
        <p:nvPicPr>
          <p:cNvPr id="3" name="図 2" descr="アイコン&#10;&#10;自動的に生成された説明">
            <a:extLst>
              <a:ext uri="{FF2B5EF4-FFF2-40B4-BE49-F238E27FC236}">
                <a16:creationId xmlns:a16="http://schemas.microsoft.com/office/drawing/2014/main" id="{F7B51538-C7C9-BD35-FE65-1B7461DDA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A5B61-CB2A-13F2-5D36-44A004986C41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8223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01600E2-E327-EFD5-3B99-785852F70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0134" y="2442118"/>
            <a:ext cx="4415882" cy="441588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FF49210-D120-FEDB-011B-51D4C5E037C4}"/>
              </a:ext>
            </a:extLst>
          </p:cNvPr>
          <p:cNvSpPr txBox="1"/>
          <p:nvPr/>
        </p:nvSpPr>
        <p:spPr>
          <a:xfrm>
            <a:off x="5665726" y="1485134"/>
            <a:ext cx="252000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ばらくすると起動を開始します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467FBA7C-ED60-8875-7E68-0B9213B56D47}"/>
              </a:ext>
            </a:extLst>
          </p:cNvPr>
          <p:cNvSpPr txBox="1"/>
          <p:nvPr/>
        </p:nvSpPr>
        <p:spPr>
          <a:xfrm>
            <a:off x="656394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6AA15D5-8ACC-5350-9855-A5507745E624}"/>
              </a:ext>
            </a:extLst>
          </p:cNvPr>
          <p:cNvSpPr txBox="1"/>
          <p:nvPr/>
        </p:nvSpPr>
        <p:spPr>
          <a:xfrm>
            <a:off x="5035551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25BBCB-C356-40BD-7551-9313FFE20578}"/>
              </a:ext>
            </a:extLst>
          </p:cNvPr>
          <p:cNvSpPr txBox="1"/>
          <p:nvPr/>
        </p:nvSpPr>
        <p:spPr>
          <a:xfrm>
            <a:off x="1281628" y="1485134"/>
            <a:ext cx="3031096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押す時間は機種によって 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変わります</a:t>
            </a: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F6E8A66-3FCA-7A82-91A1-419DDF2D0254}"/>
              </a:ext>
            </a:extLst>
          </p:cNvPr>
          <p:cNvSpPr txBox="1"/>
          <p:nvPr/>
        </p:nvSpPr>
        <p:spPr>
          <a:xfrm>
            <a:off x="3787855" y="31056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C5F2E9A9-85E9-3720-8CA9-80EA42C2023D}"/>
              </a:ext>
            </a:extLst>
          </p:cNvPr>
          <p:cNvGrpSpPr/>
          <p:nvPr/>
        </p:nvGrpSpPr>
        <p:grpSpPr>
          <a:xfrm>
            <a:off x="42030" y="2442118"/>
            <a:ext cx="4415882" cy="4415882"/>
            <a:chOff x="490652" y="2442118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A859EF42-227B-3B5E-72E4-A99480BF5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23" name="図 11">
              <a:extLst>
                <a:ext uri="{FF2B5EF4-FFF2-40B4-BE49-F238E27FC236}">
                  <a16:creationId xmlns:a16="http://schemas.microsoft.com/office/drawing/2014/main" id="{583D4B36-7BE9-FA39-5D0A-DF5C3CD3C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71479"/>
            </a:xfrm>
            <a:prstGeom prst="rect">
              <a:avLst/>
            </a:prstGeom>
          </p:spPr>
        </p:pic>
      </p:grp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5B1BD9EE-81E0-3993-6868-BBB396A73296}"/>
              </a:ext>
            </a:extLst>
          </p:cNvPr>
          <p:cNvCxnSpPr>
            <a:cxnSpLocks/>
          </p:cNvCxnSpPr>
          <p:nvPr/>
        </p:nvCxnSpPr>
        <p:spPr>
          <a:xfrm>
            <a:off x="4375431" y="549902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32AA7F9D-B127-F078-43CD-1F09515FF54D}"/>
              </a:ext>
            </a:extLst>
          </p:cNvPr>
          <p:cNvSpPr/>
          <p:nvPr/>
        </p:nvSpPr>
        <p:spPr>
          <a:xfrm>
            <a:off x="3154043" y="3340147"/>
            <a:ext cx="189095" cy="116493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6987877A-A800-0F5A-1076-FBB400FA421C}"/>
              </a:ext>
            </a:extLst>
          </p:cNvPr>
          <p:cNvCxnSpPr>
            <a:cxnSpLocks/>
            <a:endCxn id="45" idx="0"/>
          </p:cNvCxnSpPr>
          <p:nvPr/>
        </p:nvCxnSpPr>
        <p:spPr>
          <a:xfrm flipH="1">
            <a:off x="3248591" y="2972198"/>
            <a:ext cx="197751" cy="36794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944289BE-E7BA-1853-E97C-BAF393217DF1}"/>
              </a:ext>
            </a:extLst>
          </p:cNvPr>
          <p:cNvCxnSpPr>
            <a:cxnSpLocks/>
          </p:cNvCxnSpPr>
          <p:nvPr/>
        </p:nvCxnSpPr>
        <p:spPr>
          <a:xfrm>
            <a:off x="3273744" y="45236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図 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C5FB3200-8D8F-B579-2F2A-C6EA76E8CD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8071" y="2929867"/>
            <a:ext cx="364274" cy="171380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DDEF767-5D4A-9153-61C3-F1D7A2960DE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AAEBD89-1814-33DE-16F3-C6C1168721FF}"/>
              </a:ext>
            </a:extLst>
          </p:cNvPr>
          <p:cNvSpPr/>
          <p:nvPr/>
        </p:nvSpPr>
        <p:spPr>
          <a:xfrm>
            <a:off x="5813071" y="2822661"/>
            <a:ext cx="1713070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75DBE1CD-AA54-28EE-BF11-D8B88EADA718}"/>
              </a:ext>
            </a:extLst>
          </p:cNvPr>
          <p:cNvSpPr/>
          <p:nvPr/>
        </p:nvSpPr>
        <p:spPr>
          <a:xfrm>
            <a:off x="1381904" y="2860488"/>
            <a:ext cx="1721793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37D5A3B-D7E6-7FBF-B744-82057B5D1CD1}"/>
              </a:ext>
            </a:extLst>
          </p:cNvPr>
          <p:cNvSpPr txBox="1"/>
          <p:nvPr/>
        </p:nvSpPr>
        <p:spPr>
          <a:xfrm flipH="1">
            <a:off x="5922441" y="4139635"/>
            <a:ext cx="1555492" cy="957119"/>
          </a:xfrm>
          <a:prstGeom prst="roundRect">
            <a:avLst>
              <a:gd name="adj" fmla="val 13174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するとメーカーや機種名が</a:t>
            </a:r>
            <a:endParaRPr kumimoji="1" lang="en-US" altLang="ja-JP" sz="1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されます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1212E4C5-F112-80DF-B88C-AFB9241B086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ADA90FC-8429-91C2-F46E-6A7D9B5F3F8A}"/>
              </a:ext>
            </a:extLst>
          </p:cNvPr>
          <p:cNvSpPr txBox="1"/>
          <p:nvPr/>
        </p:nvSpPr>
        <p:spPr>
          <a:xfrm>
            <a:off x="3787855" y="41089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1301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7D762241-C233-A272-27CD-AF817AB0B066}"/>
              </a:ext>
            </a:extLst>
          </p:cNvPr>
          <p:cNvGrpSpPr/>
          <p:nvPr/>
        </p:nvGrpSpPr>
        <p:grpSpPr>
          <a:xfrm>
            <a:off x="4450107" y="2349500"/>
            <a:ext cx="4654328" cy="4654328"/>
            <a:chOff x="2525082" y="2341250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2F0A7D22-560A-7FAC-AEE7-4F20E964A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23" name="Picture 3">
              <a:extLst>
                <a:ext uri="{FF2B5EF4-FFF2-40B4-BE49-F238E27FC236}">
                  <a16:creationId xmlns:a16="http://schemas.microsoft.com/office/drawing/2014/main" id="{A2364B19-FA25-50AA-AC70-0BDAE225DE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46"/>
            <a:stretch/>
          </p:blipFill>
          <p:spPr bwMode="auto">
            <a:xfrm>
              <a:off x="3677838" y="2653711"/>
              <a:ext cx="1536714" cy="3274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3B578F8-B4A2-2A52-5DD3-8D66435CF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2" y="2349500"/>
            <a:ext cx="4618458" cy="4618458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35558655-EFAA-7AD4-3B3C-5CE99E499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955" y="2702231"/>
            <a:ext cx="1801195" cy="390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図 10">
            <a:extLst>
              <a:ext uri="{FF2B5EF4-FFF2-40B4-BE49-F238E27FC236}">
                <a16:creationId xmlns:a16="http://schemas.microsoft.com/office/drawing/2014/main" id="{0D41CCCA-B3D4-CE39-FF3B-78EC2C4C19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6830" y="2737177"/>
            <a:ext cx="481183" cy="99656"/>
          </a:xfrm>
          <a:prstGeom prst="rect">
            <a:avLst/>
          </a:prstGeom>
        </p:spPr>
      </p:pic>
      <p:sp>
        <p:nvSpPr>
          <p:cNvPr id="15" name="矢印: 右 14">
            <a:extLst>
              <a:ext uri="{FF2B5EF4-FFF2-40B4-BE49-F238E27FC236}">
                <a16:creationId xmlns:a16="http://schemas.microsoft.com/office/drawing/2014/main" id="{C759ACFB-8B77-FF9B-2771-5350396828CA}"/>
              </a:ext>
            </a:extLst>
          </p:cNvPr>
          <p:cNvSpPr/>
          <p:nvPr/>
        </p:nvSpPr>
        <p:spPr>
          <a:xfrm rot="16200000">
            <a:off x="1308395" y="5005271"/>
            <a:ext cx="2008356" cy="533481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630586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258888" y="1456634"/>
            <a:ext cx="290671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時の画面を下から上に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指でスライド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689478" y="1456634"/>
            <a:ext cx="31497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解除画面にて設定済みの方法でロック解除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字幕 14">
            <a:extLst>
              <a:ext uri="{FF2B5EF4-FFF2-40B4-BE49-F238E27FC236}">
                <a16:creationId xmlns:a16="http://schemas.microsoft.com/office/drawing/2014/main" id="{950BAA10-7D47-3003-1F29-43EA84016583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7CDBA70-9842-BED4-6FF3-99511DF94421}"/>
              </a:ext>
            </a:extLst>
          </p:cNvPr>
          <p:cNvSpPr txBox="1"/>
          <p:nvPr/>
        </p:nvSpPr>
        <p:spPr>
          <a:xfrm>
            <a:off x="5076825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FF8E063-357D-8030-C658-8C9986158F3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CC5FBF2-8771-A929-2BCA-2F99DDF6A7EB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42830241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B90EF0EF-E3AA-A5BA-34A3-89C59218D513}"/>
              </a:ext>
            </a:extLst>
          </p:cNvPr>
          <p:cNvGrpSpPr/>
          <p:nvPr/>
        </p:nvGrpSpPr>
        <p:grpSpPr>
          <a:xfrm>
            <a:off x="2183509" y="2311922"/>
            <a:ext cx="4679540" cy="4679540"/>
            <a:chOff x="5423455" y="2345652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BD7CD27C-0040-3508-E941-D6D8619C3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6" name="図 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1B3DDD4E-074E-EBEC-4E1A-614DF9F55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2831563" y="1449388"/>
            <a:ext cx="53301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351667" y="1507445"/>
            <a:ext cx="374424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が起動します</a:t>
            </a: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23027854-AC7A-C7D4-C290-AF5946C273A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0AC7E9E-65E9-7480-4231-15F2E93EB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1B8BD36-81C9-2142-1C99-CF6F2012B1A9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21516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C84A66E2-EB9E-B34E-BCAE-F39417E29634}"/>
              </a:ext>
            </a:extLst>
          </p:cNvPr>
          <p:cNvGrpSpPr/>
          <p:nvPr/>
        </p:nvGrpSpPr>
        <p:grpSpPr>
          <a:xfrm>
            <a:off x="4492237" y="2258988"/>
            <a:ext cx="4742909" cy="4742909"/>
            <a:chOff x="2525082" y="2341250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9B1A2C3-E662-8D4A-4497-9D8B9ED21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DC5981B6-C2ED-F164-B23B-F5774D213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14941" y="2719230"/>
              <a:ext cx="111378" cy="111378"/>
            </a:xfrm>
            <a:prstGeom prst="rect">
              <a:avLst/>
            </a:prstGeom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97D7D46F-5B93-9BFE-77B7-F3342276CC02}"/>
                </a:ext>
              </a:extLst>
            </p:cNvPr>
            <p:cNvSpPr/>
            <p:nvPr/>
          </p:nvSpPr>
          <p:spPr>
            <a:xfrm>
              <a:off x="4591714" y="3729241"/>
              <a:ext cx="432048" cy="563855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19C790DE-76D2-9FF3-3293-6DDE3D0AF2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109" y="2598881"/>
              <a:ext cx="1534355" cy="3324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四角形: 角を丸くする 20">
              <a:extLst>
                <a:ext uri="{FF2B5EF4-FFF2-40B4-BE49-F238E27FC236}">
                  <a16:creationId xmlns:a16="http://schemas.microsoft.com/office/drawing/2014/main" id="{75D00767-A131-813B-FB63-115326675547}"/>
                </a:ext>
              </a:extLst>
            </p:cNvPr>
            <p:cNvSpPr/>
            <p:nvPr/>
          </p:nvSpPr>
          <p:spPr>
            <a:xfrm>
              <a:off x="4244500" y="3325175"/>
              <a:ext cx="373109" cy="454344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8864E7E-51E8-4191-9A39-FFE31D2C3423}"/>
              </a:ext>
            </a:extLst>
          </p:cNvPr>
          <p:cNvGrpSpPr/>
          <p:nvPr/>
        </p:nvGrpSpPr>
        <p:grpSpPr>
          <a:xfrm>
            <a:off x="-80909" y="2258987"/>
            <a:ext cx="4742910" cy="4742910"/>
            <a:chOff x="-161589" y="2336848"/>
            <a:chExt cx="3839735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8A3ECFA-1013-B1CB-63E9-DE9276523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1589" y="2336848"/>
              <a:ext cx="3839735" cy="3839735"/>
            </a:xfrm>
            <a:prstGeom prst="rect">
              <a:avLst/>
            </a:prstGeom>
          </p:spPr>
        </p:pic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3BBF7FD6-F8D2-9673-C6BC-2C34313E6E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509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図 10">
              <a:extLst>
                <a:ext uri="{FF2B5EF4-FFF2-40B4-BE49-F238E27FC236}">
                  <a16:creationId xmlns:a16="http://schemas.microsoft.com/office/drawing/2014/main" id="{2F1E8867-EDC8-382A-EFD7-1E24F96B8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9674" y="2659158"/>
              <a:ext cx="400050" cy="82853"/>
            </a:xfrm>
            <a:prstGeom prst="rect">
              <a:avLst/>
            </a:prstGeom>
          </p:spPr>
        </p:pic>
      </p:grpSp>
      <p:pic>
        <p:nvPicPr>
          <p:cNvPr id="7" name="図 10">
            <a:extLst>
              <a:ext uri="{FF2B5EF4-FFF2-40B4-BE49-F238E27FC236}">
                <a16:creationId xmlns:a16="http://schemas.microsoft.com/office/drawing/2014/main" id="{3689B8ED-CCAA-F386-1CB2-9ADE0B9F60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0561" y="2657110"/>
            <a:ext cx="494149" cy="10234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95590" y="1441347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084242" y="1422401"/>
            <a:ext cx="3974546" cy="104841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と音量ボタン</a:t>
            </a:r>
          </a:p>
          <a:p>
            <a:pPr>
              <a:lnSpc>
                <a:spcPct val="130000"/>
              </a:lnSpc>
            </a:pP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上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同時に押します</a:t>
            </a:r>
          </a:p>
          <a:p>
            <a:pPr>
              <a:lnSpc>
                <a:spcPct val="130000"/>
              </a:lnSpc>
            </a:pP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り電源ボタンのみの場合もあります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439765" y="1449388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923825" y="1422401"/>
            <a:ext cx="256553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電源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FF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05BED2-3FA0-FE31-D0C2-2D24FBD4C19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8AB57C5-54E3-2FA7-C112-8FDBB46A40D5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A56B5953-D5EE-0D6C-7B22-27988F30F468}"/>
              </a:ext>
            </a:extLst>
          </p:cNvPr>
          <p:cNvSpPr/>
          <p:nvPr/>
        </p:nvSpPr>
        <p:spPr>
          <a:xfrm>
            <a:off x="3330019" y="3319583"/>
            <a:ext cx="189095" cy="1164935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3" name="直線コネクタ 52">
            <a:extLst>
              <a:ext uri="{FF2B5EF4-FFF2-40B4-BE49-F238E27FC236}">
                <a16:creationId xmlns:a16="http://schemas.microsoft.com/office/drawing/2014/main" id="{552F7E20-2045-64E4-7C50-2F2EC881DF26}"/>
              </a:ext>
            </a:extLst>
          </p:cNvPr>
          <p:cNvCxnSpPr>
            <a:cxnSpLocks/>
          </p:cNvCxnSpPr>
          <p:nvPr/>
        </p:nvCxnSpPr>
        <p:spPr>
          <a:xfrm flipH="1">
            <a:off x="3424567" y="2910840"/>
            <a:ext cx="187313" cy="408743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8DA63BED-3B71-22D4-253E-D5188E576058}"/>
              </a:ext>
            </a:extLst>
          </p:cNvPr>
          <p:cNvCxnSpPr>
            <a:cxnSpLocks/>
          </p:cNvCxnSpPr>
          <p:nvPr/>
        </p:nvCxnSpPr>
        <p:spPr>
          <a:xfrm>
            <a:off x="3449720" y="4503103"/>
            <a:ext cx="176130" cy="18390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図 5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2C33951F-4C86-B060-8F21-6F5167CF8E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2307" y="2929623"/>
            <a:ext cx="364274" cy="1713803"/>
          </a:xfrm>
          <a:prstGeom prst="rect">
            <a:avLst/>
          </a:prstGeom>
        </p:spPr>
      </p:pic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E7C4D3B1-43F5-9872-8606-799559C5516D}"/>
              </a:ext>
            </a:extLst>
          </p:cNvPr>
          <p:cNvSpPr/>
          <p:nvPr/>
        </p:nvSpPr>
        <p:spPr>
          <a:xfrm>
            <a:off x="3592784" y="2886827"/>
            <a:ext cx="478836" cy="425752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7" name="四角形: 角を丸くする 56">
            <a:extLst>
              <a:ext uri="{FF2B5EF4-FFF2-40B4-BE49-F238E27FC236}">
                <a16:creationId xmlns:a16="http://schemas.microsoft.com/office/drawing/2014/main" id="{F954AA3F-6CF5-EC64-B7A9-DA09DAFEE699}"/>
              </a:ext>
            </a:extLst>
          </p:cNvPr>
          <p:cNvSpPr/>
          <p:nvPr/>
        </p:nvSpPr>
        <p:spPr>
          <a:xfrm>
            <a:off x="3637280" y="3918642"/>
            <a:ext cx="472439" cy="79045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2" name="直線矢印コネクタ 131">
            <a:extLst>
              <a:ext uri="{FF2B5EF4-FFF2-40B4-BE49-F238E27FC236}">
                <a16:creationId xmlns:a16="http://schemas.microsoft.com/office/drawing/2014/main" id="{9E0E7357-6DA9-2879-0A73-C34EDFB31B4C}"/>
              </a:ext>
            </a:extLst>
          </p:cNvPr>
          <p:cNvCxnSpPr>
            <a:cxnSpLocks/>
          </p:cNvCxnSpPr>
          <p:nvPr/>
        </p:nvCxnSpPr>
        <p:spPr>
          <a:xfrm>
            <a:off x="4481485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524630FA-A73C-3C91-9C21-77A45FDDADE0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480EF780-BCE0-4212-7C62-54CACD55EEB4}"/>
              </a:ext>
            </a:extLst>
          </p:cNvPr>
          <p:cNvSpPr txBox="1"/>
          <p:nvPr/>
        </p:nvSpPr>
        <p:spPr>
          <a:xfrm>
            <a:off x="4071620" y="4410388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36379A8-A1DA-BA6D-03E6-5AE0147569F4}"/>
              </a:ext>
            </a:extLst>
          </p:cNvPr>
          <p:cNvSpPr txBox="1"/>
          <p:nvPr/>
        </p:nvSpPr>
        <p:spPr>
          <a:xfrm>
            <a:off x="4134242" y="2898241"/>
            <a:ext cx="128105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603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FB99230-1E95-2466-46CD-43A9A3930915}"/>
              </a:ext>
            </a:extLst>
          </p:cNvPr>
          <p:cNvGrpSpPr/>
          <p:nvPr/>
        </p:nvGrpSpPr>
        <p:grpSpPr>
          <a:xfrm>
            <a:off x="2183045" y="2269751"/>
            <a:ext cx="4728981" cy="4728981"/>
            <a:chOff x="5412057" y="2438401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CF11E026-F985-E166-34DA-60CFC1FA5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12057" y="2438401"/>
              <a:ext cx="3839735" cy="3839735"/>
            </a:xfrm>
            <a:prstGeom prst="rect">
              <a:avLst/>
            </a:prstGeom>
          </p:spPr>
        </p:pic>
        <p:pic>
          <p:nvPicPr>
            <p:cNvPr id="6" name="図 28" descr="黒い背景とぼやけた写真&#10;&#10;説明は自動で生成されたものです">
              <a:extLst>
                <a:ext uri="{FF2B5EF4-FFF2-40B4-BE49-F238E27FC236}">
                  <a16:creationId xmlns:a16="http://schemas.microsoft.com/office/drawing/2014/main" id="{8AA18D49-1F27-F896-AC38-67DA42225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6454" y="2734481"/>
              <a:ext cx="1536643" cy="3188837"/>
            </a:xfrm>
            <a:prstGeom prst="rect">
              <a:avLst/>
            </a:prstGeom>
          </p:spPr>
        </p:pic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5E002FE8-3E6F-42BB-D3EE-44BF6C1381E2}"/>
                </a:ext>
              </a:extLst>
            </p:cNvPr>
            <p:cNvSpPr txBox="1"/>
            <p:nvPr/>
          </p:nvSpPr>
          <p:spPr>
            <a:xfrm flipH="1">
              <a:off x="6631939" y="3427767"/>
              <a:ext cx="1399361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ja-JP" altLang="en-US" sz="10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シャットダウン中...</a:t>
              </a:r>
            </a:p>
          </p:txBody>
        </p:sp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16703640-EE1A-52A0-AA39-7375915E5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60669" y="2698079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3005675" y="1484313"/>
            <a:ext cx="62970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491988" y="1484313"/>
            <a:ext cx="374424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上に「シャットダウン中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...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表示され、電源が切れます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C4D630C-682B-5229-C1C1-6B860297A23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E3CC919-1656-93E5-3BBD-1B5B8EA4DA52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7A33C7BA-7C53-BAAD-4CD5-717328B67508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127823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51406965-7BB5-8C57-0D1B-AC7234EB3B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72" r="12593"/>
          <a:stretch/>
        </p:blipFill>
        <p:spPr>
          <a:xfrm>
            <a:off x="6950472" y="4538924"/>
            <a:ext cx="1638861" cy="1975757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99D5F24E-3B0F-2A3F-2FDF-38234D1CE203}"/>
              </a:ext>
            </a:extLst>
          </p:cNvPr>
          <p:cNvSpPr txBox="1">
            <a:spLocks/>
          </p:cNvSpPr>
          <p:nvPr/>
        </p:nvSpPr>
        <p:spPr>
          <a:xfrm>
            <a:off x="234519" y="1032518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とは？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658BE3C-1326-0BCF-5258-4DEBC5B660CD}"/>
              </a:ext>
            </a:extLst>
          </p:cNvPr>
          <p:cNvSpPr txBox="1"/>
          <p:nvPr/>
        </p:nvSpPr>
        <p:spPr>
          <a:xfrm>
            <a:off x="362659" y="1550622"/>
            <a:ext cx="8385373" cy="2830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は、スマートフォンを使用しない時など、一時的に画面表示を休止させた状態を指し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になったスマートフォンは画面が暗くなりますが、電波はつながっており、電源ボタンを押したりスマートフォンを持ち上げたりなどの操作ですぐに立ち上がり、使用できる状態になってい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折りたたまれた状態の二つ折り携帯電話に近い状態です。）</a:t>
            </a: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17D1E31-DCD1-492D-8F3C-1BE48FE1587C}"/>
              </a:ext>
            </a:extLst>
          </p:cNvPr>
          <p:cNvSpPr txBox="1"/>
          <p:nvPr/>
        </p:nvSpPr>
        <p:spPr>
          <a:xfrm>
            <a:off x="362659" y="5096944"/>
            <a:ext cx="7541863" cy="1629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意図しないタッチ操作による誤操作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余計なバッテリー消費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スマートフォンの電池劣化防止が期待できる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写真やメールなど見られたくない情報の盗み見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A5F3D9F2-AB15-8E55-65EE-856FF1563573}"/>
              </a:ext>
            </a:extLst>
          </p:cNvPr>
          <p:cNvSpPr txBox="1">
            <a:spLocks/>
          </p:cNvSpPr>
          <p:nvPr/>
        </p:nvSpPr>
        <p:spPr>
          <a:xfrm>
            <a:off x="304858" y="4578840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活用のメリットとは？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4FB3BD6-2DFB-8827-893F-639D7314A67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</a:p>
        </p:txBody>
      </p:sp>
    </p:spTree>
    <p:extLst>
      <p:ext uri="{BB962C8B-B14F-4D97-AF65-F5344CB8AC3E}">
        <p14:creationId xmlns:p14="http://schemas.microsoft.com/office/powerpoint/2010/main" val="3666176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a11c2663ab92a0fbc46fe69a28746cc2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3f16d3a62d112188cee080a689bad3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02B577E-8249-469E-9986-7F0B2FE06921}"/>
</file>

<file path=customXml/itemProps2.xml><?xml version="1.0" encoding="utf-8"?>
<ds:datastoreItem xmlns:ds="http://schemas.openxmlformats.org/officeDocument/2006/customXml" ds:itemID="{310931A4-7023-4EE6-B263-57261EA43B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7FB852-64BD-484F-B7D6-A72BFE93805C}">
  <ds:schemaRefs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7</TotalTime>
  <Words>1262</Words>
  <Application>Microsoft Office PowerPoint</Application>
  <PresentationFormat>画面に合わせる (4:3)</PresentationFormat>
  <Paragraphs>297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29" baseType="lpstr">
      <vt:lpstr>BIZ UDPゴシック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1-B</vt:lpstr>
      <vt:lpstr>1-B</vt:lpstr>
      <vt:lpstr>スリープモードにする</vt:lpstr>
      <vt:lpstr>スリープモードにする</vt:lpstr>
      <vt:lpstr>PowerPoint プレゼンテーション</vt:lpstr>
      <vt:lpstr>PowerPoint プレゼンテーション</vt:lpstr>
      <vt:lpstr>2-B</vt:lpstr>
      <vt:lpstr>2-B</vt:lpstr>
      <vt:lpstr>2-C</vt:lpstr>
      <vt:lpstr>2-C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齋藤 将大</dc:creator>
  <cp:lastModifiedBy>川上 能徳</cp:lastModifiedBy>
  <cp:revision>6</cp:revision>
  <cp:lastPrinted>2025-03-22T06:59:50Z</cp:lastPrinted>
  <dcterms:created xsi:type="dcterms:W3CDTF">2024-07-07T09:06:49Z</dcterms:created>
  <dcterms:modified xsi:type="dcterms:W3CDTF">2025-10-02T03:1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</Properties>
</file>